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2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3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4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5.xml" ContentType="application/vnd.openxmlformats-officedocument.theme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6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7.xml" ContentType="application/vnd.openxmlformats-officedocument.theme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8.xml" ContentType="application/vnd.openxmlformats-officedocument.theme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9.xml" ContentType="application/vnd.openxmlformats-officedocument.theme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10.xml" ContentType="application/vnd.openxmlformats-officedocument.theme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heme/theme11.xml" ContentType="application/vnd.openxmlformats-officedocument.theme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theme/theme12.xml" ContentType="application/vnd.openxmlformats-officedocument.theme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theme/theme13.xml" ContentType="application/vnd.openxmlformats-officedocument.theme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14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5.xml" ContentType="application/vnd.openxmlformats-officedocument.theme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theme/theme16.xml" ContentType="application/vnd.openxmlformats-officedocument.theme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theme/theme17.xml" ContentType="application/vnd.openxmlformats-officedocument.theme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theme/theme18.xml" ContentType="application/vnd.openxmlformats-officedocument.theme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theme/theme19.xml" ContentType="application/vnd.openxmlformats-officedocument.theme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theme/theme20.xml" ContentType="application/vnd.openxmlformats-officedocument.theme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theme/theme2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916" r:id="rId5"/>
    <p:sldMasterId id="2147484000" r:id="rId6"/>
    <p:sldMasterId id="2147484052" r:id="rId7"/>
    <p:sldMasterId id="2147484184" r:id="rId8"/>
    <p:sldMasterId id="2147484236" r:id="rId9"/>
    <p:sldMasterId id="2147484305" r:id="rId10"/>
    <p:sldMasterId id="2147484467" r:id="rId11"/>
    <p:sldMasterId id="2147484548" r:id="rId12"/>
    <p:sldMasterId id="2147484601" r:id="rId13"/>
    <p:sldMasterId id="2147484643" r:id="rId14"/>
    <p:sldMasterId id="2147484785" r:id="rId15"/>
    <p:sldMasterId id="2147485162" r:id="rId16"/>
    <p:sldMasterId id="2147485220" r:id="rId17"/>
    <p:sldMasterId id="2147485273" r:id="rId18"/>
    <p:sldMasterId id="2147485329" r:id="rId19"/>
    <p:sldMasterId id="2147485378" r:id="rId20"/>
    <p:sldMasterId id="2147485546" r:id="rId21"/>
    <p:sldMasterId id="2147485654" r:id="rId22"/>
    <p:sldMasterId id="2147485709" r:id="rId23"/>
    <p:sldMasterId id="2147485806" r:id="rId24"/>
    <p:sldMasterId id="2147485847" r:id="rId25"/>
  </p:sldMasterIdLst>
  <p:notesMasterIdLst>
    <p:notesMasterId r:id="rId50"/>
  </p:notesMasterIdLst>
  <p:sldIdLst>
    <p:sldId id="547" r:id="rId26"/>
    <p:sldId id="275" r:id="rId27"/>
    <p:sldId id="529" r:id="rId28"/>
    <p:sldId id="3396" r:id="rId29"/>
    <p:sldId id="3393" r:id="rId30"/>
    <p:sldId id="672" r:id="rId31"/>
    <p:sldId id="673" r:id="rId32"/>
    <p:sldId id="3397" r:id="rId33"/>
    <p:sldId id="3398" r:id="rId34"/>
    <p:sldId id="3364" r:id="rId35"/>
    <p:sldId id="3400" r:id="rId36"/>
    <p:sldId id="675" r:id="rId37"/>
    <p:sldId id="3395" r:id="rId38"/>
    <p:sldId id="3399" r:id="rId39"/>
    <p:sldId id="3365" r:id="rId40"/>
    <p:sldId id="3362" r:id="rId41"/>
    <p:sldId id="3363" r:id="rId42"/>
    <p:sldId id="3403" r:id="rId43"/>
    <p:sldId id="3367" r:id="rId44"/>
    <p:sldId id="3394" r:id="rId45"/>
    <p:sldId id="3401" r:id="rId46"/>
    <p:sldId id="499" r:id="rId47"/>
    <p:sldId id="417" r:id="rId48"/>
    <p:sldId id="265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lin Stokes" initials="KS" lastIdx="2" clrIdx="0"/>
  <p:cmAuthor id="2" name="david groom" initials="dg" lastIdx="1" clrIdx="1"/>
  <p:cmAuthor id="3" name="THANH PHAN" initials="TP" lastIdx="1" clrIdx="2">
    <p:extLst>
      <p:ext uri="{19B8F6BF-5375-455C-9EA6-DF929625EA0E}">
        <p15:presenceInfo xmlns:p15="http://schemas.microsoft.com/office/powerpoint/2012/main" userId="S::thanh.phan@microfocus.com::26e269c1-bc0e-4db2-b5d7-20cd1b2690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A7C3"/>
    <a:srgbClr val="EC5AC9"/>
    <a:srgbClr val="CC78B6"/>
    <a:srgbClr val="DC223F"/>
    <a:srgbClr val="F48B34"/>
    <a:srgbClr val="1AAC60"/>
    <a:srgbClr val="FCDB1F"/>
    <a:srgbClr val="E5001A"/>
    <a:srgbClr val="224457"/>
    <a:srgbClr val="9FA3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2" autoAdjust="0"/>
    <p:restoredTop sz="44019" autoAdjust="0"/>
  </p:normalViewPr>
  <p:slideViewPr>
    <p:cSldViewPr snapToGrid="0" showGuides="1">
      <p:cViewPr varScale="1">
        <p:scale>
          <a:sx n="34" d="100"/>
          <a:sy n="34" d="100"/>
        </p:scale>
        <p:origin x="2232" y="3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978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slide" Target="slides/slide22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slide" Target="slides/slide24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slide" Target="slides/slide23.xml"/><Relationship Id="rId56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NH PHAN" userId="26e269c1-bc0e-4db2-b5d7-20cd1b269038" providerId="ADAL" clId="{EC67537F-61B4-45C4-BB7A-B3F94CC96CC1}"/>
    <pc:docChg chg="undo custSel modSld">
      <pc:chgData name="THANH PHAN" userId="26e269c1-bc0e-4db2-b5d7-20cd1b269038" providerId="ADAL" clId="{EC67537F-61B4-45C4-BB7A-B3F94CC96CC1}" dt="2021-08-19T23:48:23.403" v="2" actId="6549"/>
      <pc:docMkLst>
        <pc:docMk/>
      </pc:docMkLst>
      <pc:sldChg chg="modNotesTx">
        <pc:chgData name="THANH PHAN" userId="26e269c1-bc0e-4db2-b5d7-20cd1b269038" providerId="ADAL" clId="{EC67537F-61B4-45C4-BB7A-B3F94CC96CC1}" dt="2021-08-19T23:48:11.679" v="0" actId="6549"/>
        <pc:sldMkLst>
          <pc:docMk/>
          <pc:sldMk cId="2616565536" sldId="529"/>
        </pc:sldMkLst>
      </pc:sldChg>
      <pc:sldChg chg="modNotesTx">
        <pc:chgData name="THANH PHAN" userId="26e269c1-bc0e-4db2-b5d7-20cd1b269038" providerId="ADAL" clId="{EC67537F-61B4-45C4-BB7A-B3F94CC96CC1}" dt="2021-08-19T23:48:23.403" v="2" actId="6549"/>
        <pc:sldMkLst>
          <pc:docMk/>
          <pc:sldMk cId="384886927" sldId="3396"/>
        </pc:sldMkLst>
      </pc:sldChg>
    </pc:docChg>
  </pc:docChgLst>
  <pc:docChgLst>
    <pc:chgData name="THANH PHAN" userId="26e269c1-bc0e-4db2-b5d7-20cd1b269038" providerId="ADAL" clId="{EECC1DF4-0BC2-4484-B616-83E4B9D7114E}"/>
    <pc:docChg chg="modSld">
      <pc:chgData name="THANH PHAN" userId="26e269c1-bc0e-4db2-b5d7-20cd1b269038" providerId="ADAL" clId="{EECC1DF4-0BC2-4484-B616-83E4B9D7114E}" dt="2021-08-24T21:02:26.109" v="16" actId="6549"/>
      <pc:docMkLst>
        <pc:docMk/>
      </pc:docMkLst>
      <pc:sldChg chg="modNotesTx">
        <pc:chgData name="THANH PHAN" userId="26e269c1-bc0e-4db2-b5d7-20cd1b269038" providerId="ADAL" clId="{EECC1DF4-0BC2-4484-B616-83E4B9D7114E}" dt="2021-08-24T21:01:31.860" v="2" actId="6549"/>
        <pc:sldMkLst>
          <pc:docMk/>
          <pc:sldMk cId="1174612270" sldId="672"/>
        </pc:sldMkLst>
      </pc:sldChg>
      <pc:sldChg chg="modNotesTx">
        <pc:chgData name="THANH PHAN" userId="26e269c1-bc0e-4db2-b5d7-20cd1b269038" providerId="ADAL" clId="{EECC1DF4-0BC2-4484-B616-83E4B9D7114E}" dt="2021-08-24T21:01:34.375" v="3" actId="6549"/>
        <pc:sldMkLst>
          <pc:docMk/>
          <pc:sldMk cId="4275004018" sldId="673"/>
        </pc:sldMkLst>
      </pc:sldChg>
      <pc:sldChg chg="modNotesTx">
        <pc:chgData name="THANH PHAN" userId="26e269c1-bc0e-4db2-b5d7-20cd1b269038" providerId="ADAL" clId="{EECC1DF4-0BC2-4484-B616-83E4B9D7114E}" dt="2021-08-24T21:01:51.458" v="7" actId="6549"/>
        <pc:sldMkLst>
          <pc:docMk/>
          <pc:sldMk cId="2487129371" sldId="675"/>
        </pc:sldMkLst>
      </pc:sldChg>
      <pc:sldChg chg="modNotesTx">
        <pc:chgData name="THANH PHAN" userId="26e269c1-bc0e-4db2-b5d7-20cd1b269038" providerId="ADAL" clId="{EECC1DF4-0BC2-4484-B616-83E4B9D7114E}" dt="2021-08-24T21:02:13.474" v="12" actId="6549"/>
        <pc:sldMkLst>
          <pc:docMk/>
          <pc:sldMk cId="1730379073" sldId="3363"/>
        </pc:sldMkLst>
      </pc:sldChg>
      <pc:sldChg chg="modNotesTx">
        <pc:chgData name="THANH PHAN" userId="26e269c1-bc0e-4db2-b5d7-20cd1b269038" providerId="ADAL" clId="{EECC1DF4-0BC2-4484-B616-83E4B9D7114E}" dt="2021-08-24T21:01:45.773" v="6" actId="6549"/>
        <pc:sldMkLst>
          <pc:docMk/>
          <pc:sldMk cId="4205049445" sldId="3364"/>
        </pc:sldMkLst>
      </pc:sldChg>
      <pc:sldChg chg="modNotesTx">
        <pc:chgData name="THANH PHAN" userId="26e269c1-bc0e-4db2-b5d7-20cd1b269038" providerId="ADAL" clId="{EECC1DF4-0BC2-4484-B616-83E4B9D7114E}" dt="2021-08-24T21:02:07.842" v="11" actId="6549"/>
        <pc:sldMkLst>
          <pc:docMk/>
          <pc:sldMk cId="1196153175" sldId="3365"/>
        </pc:sldMkLst>
      </pc:sldChg>
      <pc:sldChg chg="modNotesTx">
        <pc:chgData name="THANH PHAN" userId="26e269c1-bc0e-4db2-b5d7-20cd1b269038" providerId="ADAL" clId="{EECC1DF4-0BC2-4484-B616-83E4B9D7114E}" dt="2021-08-24T21:02:19.425" v="14" actId="6549"/>
        <pc:sldMkLst>
          <pc:docMk/>
          <pc:sldMk cId="2220223218" sldId="3367"/>
        </pc:sldMkLst>
      </pc:sldChg>
      <pc:sldChg chg="modNotesTx">
        <pc:chgData name="THANH PHAN" userId="26e269c1-bc0e-4db2-b5d7-20cd1b269038" providerId="ADAL" clId="{EECC1DF4-0BC2-4484-B616-83E4B9D7114E}" dt="2021-08-24T21:01:28.986" v="1" actId="6549"/>
        <pc:sldMkLst>
          <pc:docMk/>
          <pc:sldMk cId="524286696" sldId="3393"/>
        </pc:sldMkLst>
      </pc:sldChg>
      <pc:sldChg chg="modNotesTx">
        <pc:chgData name="THANH PHAN" userId="26e269c1-bc0e-4db2-b5d7-20cd1b269038" providerId="ADAL" clId="{EECC1DF4-0BC2-4484-B616-83E4B9D7114E}" dt="2021-08-24T21:02:22.354" v="15" actId="6549"/>
        <pc:sldMkLst>
          <pc:docMk/>
          <pc:sldMk cId="2480120143" sldId="3394"/>
        </pc:sldMkLst>
      </pc:sldChg>
      <pc:sldChg chg="modNotesTx">
        <pc:chgData name="THANH PHAN" userId="26e269c1-bc0e-4db2-b5d7-20cd1b269038" providerId="ADAL" clId="{EECC1DF4-0BC2-4484-B616-83E4B9D7114E}" dt="2021-08-24T21:01:55.747" v="8" actId="6549"/>
        <pc:sldMkLst>
          <pc:docMk/>
          <pc:sldMk cId="218486346" sldId="3395"/>
        </pc:sldMkLst>
      </pc:sldChg>
      <pc:sldChg chg="modNotesTx">
        <pc:chgData name="THANH PHAN" userId="26e269c1-bc0e-4db2-b5d7-20cd1b269038" providerId="ADAL" clId="{EECC1DF4-0BC2-4484-B616-83E4B9D7114E}" dt="2021-08-24T21:01:25.964" v="0" actId="6549"/>
        <pc:sldMkLst>
          <pc:docMk/>
          <pc:sldMk cId="384886927" sldId="3396"/>
        </pc:sldMkLst>
      </pc:sldChg>
      <pc:sldChg chg="modNotesTx">
        <pc:chgData name="THANH PHAN" userId="26e269c1-bc0e-4db2-b5d7-20cd1b269038" providerId="ADAL" clId="{EECC1DF4-0BC2-4484-B616-83E4B9D7114E}" dt="2021-08-24T21:01:37.375" v="4" actId="6549"/>
        <pc:sldMkLst>
          <pc:docMk/>
          <pc:sldMk cId="1970837734" sldId="3397"/>
        </pc:sldMkLst>
      </pc:sldChg>
      <pc:sldChg chg="modNotesTx">
        <pc:chgData name="THANH PHAN" userId="26e269c1-bc0e-4db2-b5d7-20cd1b269038" providerId="ADAL" clId="{EECC1DF4-0BC2-4484-B616-83E4B9D7114E}" dt="2021-08-24T21:01:41.370" v="5" actId="6549"/>
        <pc:sldMkLst>
          <pc:docMk/>
          <pc:sldMk cId="4171659639" sldId="3398"/>
        </pc:sldMkLst>
      </pc:sldChg>
      <pc:sldChg chg="modNotesTx">
        <pc:chgData name="THANH PHAN" userId="26e269c1-bc0e-4db2-b5d7-20cd1b269038" providerId="ADAL" clId="{EECC1DF4-0BC2-4484-B616-83E4B9D7114E}" dt="2021-08-24T21:02:04.942" v="10" actId="6549"/>
        <pc:sldMkLst>
          <pc:docMk/>
          <pc:sldMk cId="4160162846" sldId="3399"/>
        </pc:sldMkLst>
      </pc:sldChg>
      <pc:sldChg chg="modNotesTx">
        <pc:chgData name="THANH PHAN" userId="26e269c1-bc0e-4db2-b5d7-20cd1b269038" providerId="ADAL" clId="{EECC1DF4-0BC2-4484-B616-83E4B9D7114E}" dt="2021-08-24T21:02:00.127" v="9" actId="6549"/>
        <pc:sldMkLst>
          <pc:docMk/>
          <pc:sldMk cId="4123377979" sldId="3400"/>
        </pc:sldMkLst>
      </pc:sldChg>
      <pc:sldChg chg="modNotesTx">
        <pc:chgData name="THANH PHAN" userId="26e269c1-bc0e-4db2-b5d7-20cd1b269038" providerId="ADAL" clId="{EECC1DF4-0BC2-4484-B616-83E4B9D7114E}" dt="2021-08-24T21:02:26.109" v="16" actId="6549"/>
        <pc:sldMkLst>
          <pc:docMk/>
          <pc:sldMk cId="1779760342" sldId="3401"/>
        </pc:sldMkLst>
      </pc:sldChg>
      <pc:sldChg chg="modNotesTx">
        <pc:chgData name="THANH PHAN" userId="26e269c1-bc0e-4db2-b5d7-20cd1b269038" providerId="ADAL" clId="{EECC1DF4-0BC2-4484-B616-83E4B9D7114E}" dt="2021-08-24T21:02:17.198" v="13" actId="6549"/>
        <pc:sldMkLst>
          <pc:docMk/>
          <pc:sldMk cId="3331506274" sldId="3403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8-14T20:27:05.877" idx="1">
    <p:pos x="10" y="10"/>
    <p:text/>
    <p:extLst>
      <p:ext uri="{C676402C-5697-4E1C-873F-D02D1690AC5C}">
        <p15:threadingInfo xmlns:p15="http://schemas.microsoft.com/office/powerpoint/2012/main" timeZoneBias="4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F4137A-32A9-4E3E-80A1-313294284C14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956D5C-5EF9-4233-82C8-1D8C4F6E2E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405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574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4026FF-C702-4D93-8EE2-59D0C71AA474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910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2783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0349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054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7145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895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s a Project Administrator, you can customize the Defect and Run settings.</a:t>
            </a:r>
          </a:p>
          <a:p>
            <a:pPr marL="171450" indent="-171450">
              <a:buFontTx/>
              <a:buChar char="-"/>
            </a:pPr>
            <a:r>
              <a:rPr lang="en-US" dirty="0"/>
              <a:t>To get to the Defect Settings you go to Ellipse -&gt; Settings -&gt; Defe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However, this option is only available if you are a Project Admin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In the defect settings, you  will see Forms and Rules tabs.  We will go over Rules tab in the next slide.</a:t>
            </a:r>
          </a:p>
          <a:p>
            <a:pPr marL="171450" indent="-171450">
              <a:buFontTx/>
              <a:buChar char="-"/>
            </a:pPr>
            <a:r>
              <a:rPr lang="en-US" dirty="0"/>
              <a:t>In the Forms Defect Settings, you  can create multiple forms for the Defect modu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o add a new form, you want to click on the + button here.</a:t>
            </a:r>
          </a:p>
          <a:p>
            <a:pPr marL="171450" indent="-171450">
              <a:buFontTx/>
              <a:buChar char="-"/>
            </a:pPr>
            <a:r>
              <a:rPr lang="en-US" dirty="0"/>
              <a:t>Enter a name for your form and click Create.</a:t>
            </a:r>
          </a:p>
          <a:p>
            <a:pPr marL="171450" indent="-171450">
              <a:buFontTx/>
              <a:buChar char="-"/>
            </a:pPr>
            <a:r>
              <a:rPr lang="en-US" dirty="0"/>
              <a:t>You can now customize the form by adding additional fields and set properties.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each field, you can set the Visibility and Required properties</a:t>
            </a:r>
          </a:p>
          <a:p>
            <a:pPr marL="171450" indent="-171450">
              <a:buFontTx/>
              <a:buChar char="-"/>
            </a:pPr>
            <a:r>
              <a:rPr lang="en-US" dirty="0"/>
              <a:t>You can also set default value for each field</a:t>
            </a:r>
          </a:p>
          <a:p>
            <a:pPr marL="171450" indent="-171450">
              <a:buFontTx/>
              <a:buChar char="-"/>
            </a:pPr>
            <a:r>
              <a:rPr lang="en-US" dirty="0"/>
              <a:t>And do field order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template, you will see also Application Rule  and Ready to Apply columns.</a:t>
            </a:r>
          </a:p>
          <a:p>
            <a:pPr marL="171450" indent="-171450">
              <a:buFontTx/>
              <a:buChar char="-"/>
            </a:pPr>
            <a:r>
              <a:rPr lang="en-US" dirty="0"/>
              <a:t>In the Application Rule, you can set select either Enforced or Recommend. </a:t>
            </a:r>
          </a:p>
          <a:p>
            <a:pPr marL="171450" indent="-171450">
              <a:buFontTx/>
              <a:buChar char="-"/>
            </a:pPr>
            <a:r>
              <a:rPr lang="en-US" dirty="0"/>
              <a:t>Enforced here means the field must be set and cannot be changed in linked project.</a:t>
            </a:r>
          </a:p>
          <a:p>
            <a:pPr marL="171450" indent="-171450">
              <a:buFontTx/>
              <a:buChar char="-"/>
            </a:pPr>
            <a:r>
              <a:rPr lang="en-US" dirty="0"/>
              <a:t>Recommend means it change be changed.</a:t>
            </a:r>
          </a:p>
          <a:p>
            <a:pPr marL="171450" indent="-171450">
              <a:buFontTx/>
              <a:buChar char="-"/>
            </a:pPr>
            <a:r>
              <a:rPr lang="en-US" dirty="0"/>
              <a:t>Ready for Apply checkbox–  Enabling the checkbox means that the field will be available when you apply </a:t>
            </a:r>
            <a:r>
              <a:rPr lang="en-US" dirty="0" err="1"/>
              <a:t>customzition</a:t>
            </a:r>
            <a:r>
              <a:rPr lang="en-US" dirty="0"/>
              <a:t>.</a:t>
            </a:r>
          </a:p>
          <a:p>
            <a:pPr marL="171450" indent="-171450">
              <a:buFontTx/>
              <a:buChar char="-"/>
            </a:pPr>
            <a:r>
              <a:rPr lang="en-US" dirty="0"/>
              <a:t>In this screen capture here, I want to have created multiple forms… in fact, I have one for each defect status. </a:t>
            </a:r>
          </a:p>
          <a:p>
            <a:pPr marL="0" indent="0">
              <a:buFontTx/>
              <a:buNone/>
            </a:pPr>
            <a:r>
              <a:rPr lang="en-US" dirty="0"/>
              <a:t>-   So I have a Defect Submiss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a Defect Open form </a:t>
            </a:r>
          </a:p>
          <a:p>
            <a:pPr marL="171450" indent="-171450">
              <a:buFontTx/>
              <a:buChar char="-"/>
            </a:pPr>
            <a:r>
              <a:rPr lang="en-US" dirty="0"/>
              <a:t>And </a:t>
            </a:r>
            <a:r>
              <a:rPr lang="en-US" dirty="0" err="1"/>
              <a:t>etc</a:t>
            </a:r>
            <a:r>
              <a:rPr lang="en-US" dirty="0"/>
              <a:t>…. </a:t>
            </a:r>
          </a:p>
          <a:p>
            <a:pPr marL="171450" indent="-171450">
              <a:buFontTx/>
              <a:buChar char="-"/>
            </a:pPr>
            <a:r>
              <a:rPr lang="en-US" dirty="0"/>
              <a:t>Each form can have different list of fields with different field properties depending on my requirements</a:t>
            </a:r>
          </a:p>
          <a:p>
            <a:pPr marL="171450" indent="-171450">
              <a:buFontTx/>
              <a:buChar char="-"/>
            </a:pPr>
            <a:r>
              <a:rPr lang="en-US" dirty="0"/>
              <a:t>And as a last step, I can selected one form, Form- Defect Submit, as my default form</a:t>
            </a:r>
          </a:p>
          <a:p>
            <a:pPr marL="171450" indent="-171450">
              <a:buFontTx/>
              <a:buChar char="-"/>
            </a:pPr>
            <a:r>
              <a:rPr lang="en-US" dirty="0"/>
              <a:t>This default form will be used if there is no defect rules  or when no rule fi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5360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45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566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005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ello and welcome to another Micro Focus Webin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y name is Thanh Pha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day topic is on ALM Quality Center Web Run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presentation will take around 20 minutes follow by a 10 minutes Q&amp;A sess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will mute everybody for during the presentation and will open up the mic afterwar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0820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1541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5982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190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0264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843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398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843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242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5647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56D5C-5EF9-4233-82C8-1D8C4F6E2ED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109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2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7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8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8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9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9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9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0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0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0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1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1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2.xml"/><Relationship Id="rId4" Type="http://schemas.openxmlformats.org/officeDocument/2006/relationships/image" Target="../media/image27.emf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1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2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2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2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-26670" y="0"/>
            <a:ext cx="1221867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5" y="1"/>
            <a:ext cx="1799697" cy="1518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902208" y="3724623"/>
            <a:ext cx="8564880" cy="1378093"/>
            <a:chOff x="914400" y="4004380"/>
            <a:chExt cx="8564880" cy="1378093"/>
          </a:xfrm>
        </p:grpSpPr>
        <p:sp>
          <p:nvSpPr>
            <p:cNvPr id="25" name="Rectangle 24"/>
            <p:cNvSpPr/>
            <p:nvPr/>
          </p:nvSpPr>
          <p:spPr>
            <a:xfrm>
              <a:off x="914400" y="4004380"/>
              <a:ext cx="8564880" cy="950389"/>
            </a:xfrm>
            <a:prstGeom prst="rect">
              <a:avLst/>
            </a:prstGeom>
            <a:solidFill>
              <a:srgbClr val="0079E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14400" y="4954769"/>
              <a:ext cx="8031480" cy="42770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en-US" sz="1600" kern="0" dirty="0">
                <a:solidFill>
                  <a:srgbClr val="0079EF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>
          <a:xfrm>
            <a:off x="935038" y="3723985"/>
            <a:ext cx="8478087" cy="953451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35038" y="4691698"/>
            <a:ext cx="7953692" cy="428625"/>
          </a:xfr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9E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LICK TO EDIT TAGL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05" y="615387"/>
            <a:ext cx="2799736" cy="67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2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65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15487536"/>
      </p:ext>
    </p:extLst>
  </p:cSld>
  <p:clrMapOvr>
    <a:masterClrMapping/>
  </p:clrMapOvr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2754931"/>
      </p:ext>
    </p:extLst>
  </p:cSld>
  <p:clrMapOvr>
    <a:masterClrMapping/>
  </p:clrMapOvr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5803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340681"/>
      </p:ext>
    </p:extLst>
  </p:cSld>
  <p:clrMapOvr>
    <a:masterClrMapping/>
  </p:clrMapOvr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89425"/>
      </p:ext>
    </p:extLst>
  </p:cSld>
  <p:clrMapOvr>
    <a:masterClrMapping/>
  </p:clrMapOvr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238263"/>
      </p:ext>
    </p:extLst>
  </p:cSld>
  <p:clrMapOvr>
    <a:masterClrMapping/>
  </p:clrMapOvr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5776"/>
      </p:ext>
    </p:extLst>
  </p:cSld>
  <p:clrMapOvr>
    <a:masterClrMapping/>
  </p:clrMapOvr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985721"/>
      </p:ext>
    </p:extLst>
  </p:cSld>
  <p:clrMapOvr>
    <a:masterClrMapping/>
  </p:clrMapOvr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90191"/>
      </p:ext>
    </p:extLst>
  </p:cSld>
  <p:clrMapOvr>
    <a:masterClrMapping/>
  </p:clrMapOvr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02364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97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3741231"/>
      </p:ext>
    </p:extLst>
  </p:cSld>
  <p:clrMapOvr>
    <a:masterClrMapping/>
  </p:clrMapOvr>
  <p:hf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3024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95180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9711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ue Title Slide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16507"/>
            <a:ext cx="10579608" cy="164592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370403"/>
            <a:ext cx="10579608" cy="86186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0538" y="5279566"/>
            <a:ext cx="4007404" cy="83631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00041" indent="0">
              <a:buNone/>
              <a:defRPr>
                <a:solidFill>
                  <a:schemeClr val="bg1"/>
                </a:solidFill>
              </a:defRPr>
            </a:lvl3pPr>
            <a:lvl4pPr marL="571486" indent="0">
              <a:buNone/>
              <a:defRPr>
                <a:solidFill>
                  <a:schemeClr val="bg1"/>
                </a:solidFill>
              </a:defRPr>
            </a:lvl4pPr>
            <a:lvl5pPr marL="7429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0997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31363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6922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29284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10762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6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6" y="2043606"/>
            <a:ext cx="10311765" cy="4133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388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151" y="2497874"/>
            <a:ext cx="10312400" cy="3679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46151" y="1993266"/>
            <a:ext cx="10312400" cy="384175"/>
          </a:xfrm>
        </p:spPr>
        <p:txBody>
          <a:bodyPr/>
          <a:lstStyle>
            <a:lvl1pPr marL="0" indent="0">
              <a:buNone/>
              <a:defRPr b="1"/>
            </a:lvl1pPr>
            <a:lvl2pPr marL="228594" indent="0">
              <a:buNone/>
              <a:defRPr b="1"/>
            </a:lvl2pPr>
            <a:lvl3pPr marL="400041" indent="0">
              <a:buNone/>
              <a:defRPr b="1"/>
            </a:lvl3pPr>
            <a:lvl4pPr marL="571486" indent="0">
              <a:buNone/>
              <a:defRPr b="1"/>
            </a:lvl4pPr>
            <a:lvl5pPr marL="742932" indent="0">
              <a:buNone/>
              <a:defRPr b="1"/>
            </a:lvl5pPr>
          </a:lstStyle>
          <a:p>
            <a:pPr lvl="0"/>
            <a:r>
              <a:rPr lang="en-US" dirty="0"/>
              <a:t>Click to edit Heading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4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28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19913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8844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255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D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71246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Aquamar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8631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64919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8626"/>
            <a:ext cx="10408603" cy="1262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5" y="1828800"/>
            <a:ext cx="508116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2974" y="2447925"/>
            <a:ext cx="508497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28800"/>
            <a:ext cx="508635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447925"/>
            <a:ext cx="508635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2051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2973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9350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9986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9"/>
          </a:xfrm>
        </p:spPr>
        <p:txBody>
          <a:bodyPr/>
          <a:lstStyle>
            <a:lvl1pPr marL="228594" indent="-228594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5" y="1825625"/>
            <a:ext cx="3229804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8950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047750" y="1825628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404101" y="1827243"/>
            <a:ext cx="3854450" cy="4242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2620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52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825628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46786" y="1820863"/>
            <a:ext cx="3858768" cy="4242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2845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7424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0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137424" cy="200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4575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876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56365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333" y="165504"/>
            <a:ext cx="10311765" cy="974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083792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3202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013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microfocu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43324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pPr defTabSz="914377"/>
            <a:fld id="{684E3265-88A3-4C30-AE11-BFDF645909E9}" type="datetime4">
              <a:rPr lang="en-US" smtClean="0">
                <a:solidFill>
                  <a:prstClr val="black"/>
                </a:solidFill>
              </a:rPr>
              <a:pPr defTabSz="914377"/>
              <a:t>August 24, 2021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79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Blue bar">
            <a:extLst>
              <a:ext uri="{FF2B5EF4-FFF2-40B4-BE49-F238E27FC236}">
                <a16:creationId xmlns:a16="http://schemas.microsoft.com/office/drawing/2014/main" id="{F98B9507-07F2-2A48-A28C-5FE410686D0C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BF2BB5-DD06-A24B-B382-2F11DE8EF8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hape 48">
            <a:extLst>
              <a:ext uri="{FF2B5EF4-FFF2-40B4-BE49-F238E27FC236}">
                <a16:creationId xmlns:a16="http://schemas.microsoft.com/office/drawing/2014/main" id="{6E587C0B-5D2C-064B-83F1-5FD97E29E5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0976" y="474026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5A3790-DB68-2042-ADC2-D3C5D8EC3AEB}"/>
              </a:ext>
            </a:extLst>
          </p:cNvPr>
          <p:cNvSpPr/>
          <p:nvPr userDrawn="1"/>
        </p:nvSpPr>
        <p:spPr>
          <a:xfrm>
            <a:off x="904199" y="739437"/>
            <a:ext cx="5020351" cy="473413"/>
          </a:xfrm>
          <a:prstGeom prst="rect">
            <a:avLst/>
          </a:prstGeom>
          <a:solidFill>
            <a:srgbClr val="192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5C1D55-5E12-5A4D-9CA2-2C41F7BDE2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24004" r="32798" b="34867"/>
          <a:stretch/>
        </p:blipFill>
        <p:spPr>
          <a:xfrm>
            <a:off x="914400" y="805309"/>
            <a:ext cx="1554480" cy="30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9258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Blue bar">
            <a:extLst>
              <a:ext uri="{FF2B5EF4-FFF2-40B4-BE49-F238E27FC236}">
                <a16:creationId xmlns:a16="http://schemas.microsoft.com/office/drawing/2014/main" id="{F98B9507-07F2-2A48-A28C-5FE410686D0C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0976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76" y="4434840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1401B8-F8F8-2048-BE8A-89514AF8F38F}"/>
              </a:ext>
            </a:extLst>
          </p:cNvPr>
          <p:cNvSpPr/>
          <p:nvPr userDrawn="1"/>
        </p:nvSpPr>
        <p:spPr>
          <a:xfrm>
            <a:off x="881974" y="758757"/>
            <a:ext cx="2185481" cy="473413"/>
          </a:xfrm>
          <a:prstGeom prst="rect">
            <a:avLst/>
          </a:prstGeom>
          <a:solidFill>
            <a:srgbClr val="192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1E10DA-5A31-F148-A99B-72E83B62C4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24004" r="32798" b="34867"/>
          <a:stretch/>
        </p:blipFill>
        <p:spPr>
          <a:xfrm>
            <a:off x="914400" y="805309"/>
            <a:ext cx="1554480" cy="30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025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99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196913E-FDD5-2745-AD83-FC9DEFAB4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Blue bar">
            <a:extLst>
              <a:ext uri="{FF2B5EF4-FFF2-40B4-BE49-F238E27FC236}">
                <a16:creationId xmlns:a16="http://schemas.microsoft.com/office/drawing/2014/main" id="{29267154-101B-2644-92A9-E50DBDCBCB86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Shape 48">
            <a:extLst>
              <a:ext uri="{FF2B5EF4-FFF2-40B4-BE49-F238E27FC236}">
                <a16:creationId xmlns:a16="http://schemas.microsoft.com/office/drawing/2014/main" id="{80580306-FBB7-9641-AFF6-169E3C4427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0976" y="474026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6846B1-911C-224C-B497-3CCD50734E78}"/>
              </a:ext>
            </a:extLst>
          </p:cNvPr>
          <p:cNvSpPr/>
          <p:nvPr userDrawn="1"/>
        </p:nvSpPr>
        <p:spPr>
          <a:xfrm>
            <a:off x="881974" y="758757"/>
            <a:ext cx="2185481" cy="473413"/>
          </a:xfrm>
          <a:prstGeom prst="rect">
            <a:avLst/>
          </a:prstGeom>
          <a:solidFill>
            <a:srgbClr val="057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DB2B57-9931-0145-AF5E-87FD7D62E2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6" t="24513" r="26143" b="37046"/>
          <a:stretch/>
        </p:blipFill>
        <p:spPr>
          <a:xfrm>
            <a:off x="932688" y="809624"/>
            <a:ext cx="1709928" cy="28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0197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Blue bar">
            <a:extLst>
              <a:ext uri="{FF2B5EF4-FFF2-40B4-BE49-F238E27FC236}">
                <a16:creationId xmlns:a16="http://schemas.microsoft.com/office/drawing/2014/main" id="{29267154-101B-2644-92A9-E50DBDCBCB86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34840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00D0E5-11C3-184B-AEF4-C438EB4DDDB7}"/>
              </a:ext>
            </a:extLst>
          </p:cNvPr>
          <p:cNvSpPr/>
          <p:nvPr userDrawn="1"/>
        </p:nvSpPr>
        <p:spPr>
          <a:xfrm>
            <a:off x="881974" y="758757"/>
            <a:ext cx="2185481" cy="473413"/>
          </a:xfrm>
          <a:prstGeom prst="rect">
            <a:avLst/>
          </a:prstGeom>
          <a:solidFill>
            <a:srgbClr val="057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E53F8E-45FF-2D44-BB65-85A114043F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6" t="24513" r="26143" b="37046"/>
          <a:stretch/>
        </p:blipFill>
        <p:spPr>
          <a:xfrm>
            <a:off x="932688" y="809624"/>
            <a:ext cx="1709928" cy="28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5912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Blue bar">
            <a:extLst>
              <a:ext uri="{FF2B5EF4-FFF2-40B4-BE49-F238E27FC236}">
                <a16:creationId xmlns:a16="http://schemas.microsoft.com/office/drawing/2014/main" id="{14A7786F-EC6B-584D-BC8A-31F0C33121E8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1C9889-1FA7-1E40-9D6F-846F6F44C3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hape 48">
            <a:extLst>
              <a:ext uri="{FF2B5EF4-FFF2-40B4-BE49-F238E27FC236}">
                <a16:creationId xmlns:a16="http://schemas.microsoft.com/office/drawing/2014/main" id="{62C34D43-A819-5644-A92D-39CA3F3F9E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0976" y="474026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4D483-7C9D-5D43-9410-1EDF4CCDED54}"/>
              </a:ext>
            </a:extLst>
          </p:cNvPr>
          <p:cNvSpPr/>
          <p:nvPr userDrawn="1"/>
        </p:nvSpPr>
        <p:spPr>
          <a:xfrm>
            <a:off x="881974" y="758757"/>
            <a:ext cx="2185481" cy="473413"/>
          </a:xfrm>
          <a:prstGeom prst="rect">
            <a:avLst/>
          </a:prstGeom>
          <a:solidFill>
            <a:srgbClr val="7E4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EA65F0-4DC5-DD42-B86A-253BD7A9F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6" t="24672" r="36204" b="37393"/>
          <a:stretch/>
        </p:blipFill>
        <p:spPr>
          <a:xfrm>
            <a:off x="914400" y="810642"/>
            <a:ext cx="1453896" cy="28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7444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2D2DF-F421-C541-8690-82957E110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Blue bar">
            <a:extLst>
              <a:ext uri="{FF2B5EF4-FFF2-40B4-BE49-F238E27FC236}">
                <a16:creationId xmlns:a16="http://schemas.microsoft.com/office/drawing/2014/main" id="{14A7786F-EC6B-584D-BC8A-31F0C33121E8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50976" y="2450592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34840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F92093-6580-EE46-BAD7-C7E3CBF08D5E}"/>
              </a:ext>
            </a:extLst>
          </p:cNvPr>
          <p:cNvSpPr/>
          <p:nvPr userDrawn="1"/>
        </p:nvSpPr>
        <p:spPr>
          <a:xfrm>
            <a:off x="881974" y="758757"/>
            <a:ext cx="2185481" cy="473413"/>
          </a:xfrm>
          <a:prstGeom prst="rect">
            <a:avLst/>
          </a:prstGeom>
          <a:solidFill>
            <a:srgbClr val="7E4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87795C8-38BC-5644-9018-A5F4CE60E5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6" t="24672" r="36204" b="37393"/>
          <a:stretch/>
        </p:blipFill>
        <p:spPr>
          <a:xfrm>
            <a:off x="914400" y="810642"/>
            <a:ext cx="1453896" cy="28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373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level 2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20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8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16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01085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01891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35344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6395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32546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4296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539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4875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32448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5404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22192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326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336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0937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5128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927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73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9761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89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58251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63546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51682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44071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41639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alf Screen Image Right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9739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alf Screen Image </a:t>
            </a:r>
            <a:br>
              <a:rPr lang="en-US"/>
            </a:br>
            <a:r>
              <a:rPr lang="en-US"/>
              <a:t>Left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013859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1185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73117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360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89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20539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5815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27913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40105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40544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205629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940814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8950466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99344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84497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0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637183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9376937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4362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7158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22893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88133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7659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94556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50128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5301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66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361078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54674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bg>
      <p:bgPr>
        <a:gradFill>
          <a:gsLst>
            <a:gs pos="0">
              <a:schemeClr val="tx2">
                <a:lumMod val="80000"/>
                <a:lumOff val="20000"/>
              </a:schemeClr>
            </a:gs>
            <a:gs pos="37000">
              <a:schemeClr val="tx2">
                <a:lumMod val="90000"/>
                <a:lumOff val="10000"/>
              </a:schemeClr>
            </a:gs>
            <a:gs pos="100000">
              <a:srgbClr val="0056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86000"/>
                </a:schemeClr>
              </a:gs>
              <a:gs pos="45000">
                <a:schemeClr val="tx2">
                  <a:alpha val="50000"/>
                </a:schemeClr>
              </a:gs>
              <a:gs pos="100000">
                <a:srgbClr val="0155E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28888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 2">
    <p:bg>
      <p:bgPr>
        <a:gradFill>
          <a:gsLst>
            <a:gs pos="0">
              <a:schemeClr val="tx2">
                <a:lumMod val="80000"/>
                <a:lumOff val="20000"/>
              </a:schemeClr>
            </a:gs>
            <a:gs pos="32000">
              <a:schemeClr val="tx2"/>
            </a:gs>
            <a:gs pos="100000">
              <a:srgbClr val="0056EF">
                <a:lumMod val="90000"/>
                <a:lumOff val="10000"/>
              </a:srgb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2694FF"/>
              </a:gs>
              <a:gs pos="45000">
                <a:schemeClr val="tx2">
                  <a:alpha val="31000"/>
                </a:schemeClr>
              </a:gs>
              <a:gs pos="100000">
                <a:srgbClr val="0155E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7151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 3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AD1E4">
                  <a:alpha val="87000"/>
                </a:srgbClr>
              </a:gs>
              <a:gs pos="43000">
                <a:schemeClr val="tx2">
                  <a:alpha val="39000"/>
                </a:schemeClr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7863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44651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39447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58427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 INFORM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18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590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34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3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light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70392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3619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6522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920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268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45362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7014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442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50988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232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09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80398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27345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027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07256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79268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 -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 – INFORM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6692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7617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428741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32921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4121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73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0722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rgbClr val="CD44E0"/>
            </a:gs>
            <a:gs pos="100000">
              <a:srgbClr val="9628A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05934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9841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, Numbe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63458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, Numbe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076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lor Texture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47957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lor Texture">
    <p:bg>
      <p:bgPr>
        <a:gradFill>
          <a:gsLst>
            <a:gs pos="0">
              <a:srgbClr val="2694FF"/>
            </a:gs>
            <a:gs pos="43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5" name="Group 14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64698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lor Texture">
    <p:bg>
      <p:bgPr>
        <a:gradFill>
          <a:gsLst>
            <a:gs pos="0">
              <a:schemeClr val="bg2">
                <a:lumMod val="90000"/>
                <a:lumOff val="10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37049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tx2">
                <a:lumMod val="85000"/>
                <a:lumOff val="15000"/>
              </a:schemeClr>
            </a:gs>
            <a:gs pos="100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9921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Section Slide -2">
    <p:bg>
      <p:bgPr>
        <a:gradFill>
          <a:gsLst>
            <a:gs pos="34000">
              <a:schemeClr val="tx2">
                <a:lumMod val="75000"/>
              </a:schemeClr>
            </a:gs>
            <a:gs pos="74000">
              <a:schemeClr val="accent4">
                <a:lumMod val="75000"/>
              </a:schemeClr>
            </a:gs>
          </a:gsLst>
          <a:lin ang="264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2">
            <a:alphaModFix amt="28000"/>
            <a:grayscl/>
          </a:blip>
          <a:stretch>
            <a:fillRect/>
          </a:stretch>
        </p:blipFill>
        <p:spPr>
          <a:xfrm>
            <a:off x="0" y="0"/>
            <a:ext cx="12166600" cy="6858000"/>
          </a:xfrm>
          <a:prstGeom prst="rect">
            <a:avLst/>
          </a:prstGeom>
          <a:noFill/>
        </p:spPr>
      </p:pic>
      <p:sp>
        <p:nvSpPr>
          <p:cNvPr id="43" name="Rectangle 4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8000">
                <a:schemeClr val="accent4">
                  <a:lumMod val="75000"/>
                  <a:alpha val="78000"/>
                </a:schemeClr>
              </a:gs>
              <a:gs pos="32000">
                <a:schemeClr val="accent4">
                  <a:alpha val="6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599" dirty="0">
              <a:solidFill>
                <a:prstClr val="white"/>
              </a:solidFill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1048006" y="1"/>
            <a:ext cx="1799697" cy="1518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5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707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91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597651"/>
            <a:ext cx="12213167" cy="260349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06881"/>
            <a:ext cx="10972800" cy="4410287"/>
          </a:xfrm>
        </p:spPr>
        <p:txBody>
          <a:bodyPr>
            <a:noAutofit/>
          </a:bodyPr>
          <a:lstStyle>
            <a:lvl1pPr marL="230712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1pPr>
            <a:lvl2pPr marL="609585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2pPr>
            <a:lvl3pPr marL="988459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3pPr>
            <a:lvl4pPr marL="1375799" indent="-230712">
              <a:buClr>
                <a:schemeClr val="tx1"/>
              </a:buClr>
              <a:buSzPct val="85000"/>
              <a:defRPr sz="2133">
                <a:solidFill>
                  <a:schemeClr val="tx1"/>
                </a:solidFill>
              </a:defRPr>
            </a:lvl4pPr>
            <a:lvl5pPr marL="1754673" indent="-230712">
              <a:buClr>
                <a:schemeClr val="tx1"/>
              </a:buClr>
              <a:buSzPct val="85000"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378886"/>
            <a:ext cx="10972800" cy="1177909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34F64-698F-794A-A1F2-9CAA0373F000}" type="slidenum">
              <a:rPr lang="en-GB">
                <a:solidFill>
                  <a:prstClr val="white">
                    <a:lumMod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718109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38412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83272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49954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8426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21238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78162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1719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3445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689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42000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94067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18678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00084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68453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35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314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4232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3432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516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14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426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15058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27088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99182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91709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25765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38171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46001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29541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6062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86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62261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99032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96338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29937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44983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0899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01910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3092810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9942450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50405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60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8903718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2429876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6101512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3779261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21315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61360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27053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87081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08529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3582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85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29744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86726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37464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65056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01869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6276486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2446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892324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7694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039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450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89213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3402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11657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03287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72493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61946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71582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224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965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879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671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54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03187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906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143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89931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04972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57077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02629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10648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06854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096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23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039022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kern="0">
              <a:solidFill>
                <a:srgbClr val="FFFFFF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012407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237116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hangingPunct="0"/>
            <a:endParaRPr lang="en-US" kern="0">
              <a:solidFill>
                <a:srgbClr val="212E35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hangingPunct="0"/>
            <a:endParaRPr lang="en-US" kern="0">
              <a:solidFill>
                <a:srgbClr val="212E35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818092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127041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157220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123403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6018407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83907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85698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45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3863675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266415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8875889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6002795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6486845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90263670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295134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473635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331342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65937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27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11982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760863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989358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962241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23252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solidFill>
              <a:srgbClr val="019E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8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424" y="5157191"/>
            <a:ext cx="4267200" cy="1219200"/>
          </a:xfrm>
        </p:spPr>
        <p:txBody>
          <a:bodyPr>
            <a:noAutofit/>
          </a:bodyPr>
          <a:lstStyle>
            <a:lvl1pPr marL="0" indent="0" algn="l">
              <a:buNone/>
              <a:defRPr sz="18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 9"/>
          <p:cNvSpPr>
            <a:spLocks noGrp="1"/>
          </p:cNvSpPr>
          <p:nvPr>
            <p:ph type="title"/>
          </p:nvPr>
        </p:nvSpPr>
        <p:spPr>
          <a:xfrm>
            <a:off x="911424" y="2276872"/>
            <a:ext cx="10574965" cy="2304256"/>
          </a:xfrm>
        </p:spPr>
        <p:txBody>
          <a:bodyPr anchor="t">
            <a:normAutofit/>
          </a:bodyPr>
          <a:lstStyle>
            <a:lvl1pPr algn="l">
              <a:defRPr sz="50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2377" y="1001025"/>
            <a:ext cx="731520" cy="73152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10003445" y="5793720"/>
            <a:ext cx="1578956" cy="37848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2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8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9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0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1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2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3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4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5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6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7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8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892446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55296" y="1060540"/>
            <a:ext cx="731520" cy="73152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424" y="5157215"/>
            <a:ext cx="4267200" cy="1219200"/>
          </a:xfrm>
        </p:spPr>
        <p:txBody>
          <a:bodyPr>
            <a:noAutofit/>
          </a:bodyPr>
          <a:lstStyle>
            <a:lvl1pPr marL="0" indent="0" algn="l">
              <a:buNone/>
              <a:defRPr sz="18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424" y="2279904"/>
            <a:ext cx="10574965" cy="2208245"/>
          </a:xfrm>
        </p:spPr>
        <p:txBody>
          <a:bodyPr anchor="t">
            <a:normAutofit/>
          </a:bodyPr>
          <a:lstStyle>
            <a:lvl1pPr algn="l">
              <a:defRPr sz="50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003445" y="5793720"/>
            <a:ext cx="1578956" cy="37848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9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1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2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3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4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5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6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7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8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9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0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1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2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785697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6597352"/>
            <a:ext cx="12212664" cy="260648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09600" y="1362509"/>
            <a:ext cx="10972800" cy="47089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83051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96534" y="6117299"/>
            <a:ext cx="1056117" cy="38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6597352"/>
            <a:ext cx="12212664" cy="260648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09600" y="1362509"/>
            <a:ext cx="10972800" cy="47089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816431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97000"/>
            <a:ext cx="5384800" cy="467360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400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97000"/>
            <a:ext cx="5384800" cy="467360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400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6402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87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0896534" y="6117299"/>
            <a:ext cx="1056117" cy="38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97000"/>
            <a:ext cx="5384800" cy="467360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400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97000"/>
            <a:ext cx="5384800" cy="467360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400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57163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97000"/>
            <a:ext cx="5386917" cy="73152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59013"/>
            <a:ext cx="5386917" cy="391158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397000"/>
            <a:ext cx="5389033" cy="73152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59013"/>
            <a:ext cx="5389033" cy="391158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64277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896534" y="6117299"/>
            <a:ext cx="1056117" cy="38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97000"/>
            <a:ext cx="5386917" cy="73152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59013"/>
            <a:ext cx="5386917" cy="391158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397000"/>
            <a:ext cx="5389033" cy="73152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59013"/>
            <a:ext cx="5389033" cy="391158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73046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Title Only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863416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Title Only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0896534" y="6117299"/>
            <a:ext cx="1056117" cy="38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633393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Blank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7191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Blank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10704512" y="6021288"/>
            <a:ext cx="1391477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1444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  <a:solidFill>
            <a:srgbClr val="0286E0"/>
          </a:solidFill>
        </p:grpSpPr>
        <p:sp>
          <p:nvSpPr>
            <p:cNvPr id="8" name="Rectangle 7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9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20144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</p:grpSp>
      <p:sp>
        <p:nvSpPr>
          <p:cNvPr id="6" name="Title 9"/>
          <p:cNvSpPr>
            <a:spLocks noGrp="1"/>
          </p:cNvSpPr>
          <p:nvPr>
            <p:ph type="title"/>
          </p:nvPr>
        </p:nvSpPr>
        <p:spPr>
          <a:xfrm>
            <a:off x="609600" y="2276872"/>
            <a:ext cx="10972800" cy="144016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93305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6" name="Rectangle 5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adFill flip="none" rotWithShape="1">
              <a:gsLst>
                <a:gs pos="95000">
                  <a:srgbClr val="414345"/>
                </a:gs>
                <a:gs pos="0">
                  <a:srgbClr val="41434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7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37246 w 9144000"/>
                <a:gd name="connsiteY3" fmla="*/ 5141119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37246" y="5141119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95000">
                  <a:srgbClr val="414345"/>
                </a:gs>
                <a:gs pos="0">
                  <a:srgbClr val="343434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</p:grpSp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609600" y="2276872"/>
            <a:ext cx="10972800" cy="144016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378857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609600" y="2276872"/>
            <a:ext cx="10972800" cy="144016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65199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99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609600" y="2276872"/>
            <a:ext cx="10972800" cy="144016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79551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adFill flip="none" rotWithShape="1">
              <a:gsLst>
                <a:gs pos="95000">
                  <a:srgbClr val="027FDD"/>
                </a:gs>
                <a:gs pos="0">
                  <a:srgbClr val="00B0F0">
                    <a:lumMod val="10000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0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20144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6"/>
          <p:cNvGrpSpPr/>
          <p:nvPr userDrawn="1"/>
        </p:nvGrpSpPr>
        <p:grpSpPr>
          <a:xfrm>
            <a:off x="4418338" y="2717800"/>
            <a:ext cx="3390868" cy="81280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11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2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3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4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5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6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7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8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9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0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1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2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3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42990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2 -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4418338" y="2717800"/>
            <a:ext cx="3390868" cy="81280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9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0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1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2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3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4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5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6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7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8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9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666544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4755"/>
            <a:ext cx="12201728" cy="6517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black">
                  <a:lumMod val="65000"/>
                  <a:lumOff val="3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7581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Slide1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2255" y="1339797"/>
            <a:ext cx="10972800" cy="4525963"/>
          </a:xfrm>
          <a:prstGeom prst="rect">
            <a:avLst/>
          </a:prstGeom>
        </p:spPr>
        <p:txBody>
          <a:bodyPr/>
          <a:lstStyle>
            <a:lvl1pPr marL="292601" indent="-292601">
              <a:buClr>
                <a:schemeClr val="accent1"/>
              </a:buClr>
              <a:buSzPct val="80000"/>
              <a:buFont typeface="Arial"/>
              <a:buChar char="•"/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32" indent="-285744">
              <a:buClr>
                <a:schemeClr val="accent5"/>
              </a:buClr>
              <a:buSzPct val="80000"/>
              <a:buFont typeface="Lucida Grande"/>
              <a:buChar char="–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2971" indent="-228594">
              <a:buClr>
                <a:schemeClr val="accent1"/>
              </a:buClr>
              <a:buSzPct val="80000"/>
              <a:buFont typeface="Arial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160" indent="-228594">
              <a:buClr>
                <a:schemeClr val="accent5"/>
              </a:buClr>
              <a:buSzPct val="80000"/>
              <a:buFont typeface="Lucida Grande"/>
              <a:buChar char="-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999" y="1"/>
            <a:ext cx="10972800" cy="107393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2800" b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8896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687837"/>
            <a:ext cx="10972800" cy="868959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834236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33366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-Black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ACA97D3-B036-E448-A69E-81718940B5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5498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ue bar">
            <a:extLst>
              <a:ext uri="{FF2B5EF4-FFF2-40B4-BE49-F238E27FC236}">
                <a16:creationId xmlns:a16="http://schemas.microsoft.com/office/drawing/2014/main" id="{14A7786F-EC6B-584D-BC8A-31F0C33121E8}"/>
              </a:ext>
            </a:extLst>
          </p:cNvPr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CECFFB-8DCE-6E45-A6F9-B3DE35AD2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51C9889-1FA7-1E40-9D6F-846F6F44C3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563" y="2446511"/>
            <a:ext cx="772278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hape 48">
            <a:extLst>
              <a:ext uri="{FF2B5EF4-FFF2-40B4-BE49-F238E27FC236}">
                <a16:creationId xmlns:a16="http://schemas.microsoft.com/office/drawing/2014/main" id="{62C34D43-A819-5644-A92D-39CA3F3F9E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474026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DC9830-C453-A946-92DE-C3C1368CC0A6}"/>
              </a:ext>
            </a:extLst>
          </p:cNvPr>
          <p:cNvSpPr/>
          <p:nvPr userDrawn="1"/>
        </p:nvSpPr>
        <p:spPr>
          <a:xfrm>
            <a:off x="944563" y="800100"/>
            <a:ext cx="2840037" cy="431800"/>
          </a:xfrm>
          <a:prstGeom prst="rect">
            <a:avLst/>
          </a:prstGeom>
          <a:solidFill>
            <a:srgbClr val="004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48257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6BC6EA3-B8EA-F542-B55C-67A42DD412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7726096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/>
              <a:t>Speaker Name</a:t>
            </a:r>
            <a:endParaRPr/>
          </a:p>
          <a:p>
            <a:pPr lvl="1"/>
            <a:r>
              <a:rPr lang="en-US"/>
              <a:t>Title/Company</a:t>
            </a:r>
            <a:endParaRPr/>
          </a:p>
          <a:p>
            <a:pPr lvl="2"/>
            <a:r>
              <a:rPr lang="en-US"/>
              <a:t>Date</a:t>
            </a:r>
            <a:endParaRPr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7726159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2531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47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level 2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20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8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16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50436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63331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24062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70260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32546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06287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11773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39787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32448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76528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43708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442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76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- avoid</a:t>
            </a:r>
          </a:p>
          <a:p>
            <a:pPr lvl="4"/>
            <a:r>
              <a:rPr lang="en-US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776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1256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83190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49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6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– avoid as too small</a:t>
            </a:r>
          </a:p>
          <a:p>
            <a:pPr lvl="3"/>
            <a:r>
              <a:rPr lang="en-US"/>
              <a:t>Fourth – avoid as too small</a:t>
            </a:r>
          </a:p>
          <a:p>
            <a:pPr lvl="4"/>
            <a:r>
              <a:rPr lang="en-US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lumn Title 20 </a:t>
            </a:r>
            <a:r>
              <a:rPr lang="en-US" err="1"/>
              <a:t>pt</a:t>
            </a:r>
            <a:r>
              <a:rPr lang="en-US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459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55340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6665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43391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793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/>
              <a:t>First level 2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9818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7503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/>
              <a:t>First level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18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6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– avoid as too small</a:t>
            </a:r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22288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alf Screen Image Right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A9F03245-2338-0B4B-99FF-A23E06E408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5E24737-38F4-684C-8B33-16CB48663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749EE0F3-0A26-3C43-BD92-B45A8A682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54F165F-1C0B-F140-9D35-01C63368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FFDFF26A-EA87-084D-A84C-F570C78FF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D5901F0D-D298-9747-AE5F-6A9DA6A38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4B00A39F-1E0B-9541-8034-015E7E4F5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D8642C2B-8B4A-0945-9FC7-D4E39C3D7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000A99EF-0612-E241-96C2-003BBF0D6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40947A45-4834-C644-B6E8-DEEBF806ED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6AC242BE-5097-3A45-9D36-5C8ABA8B1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EA00006B-E847-7843-8298-BF49E9B9A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70607E3A-ADB9-0248-BFD7-A336458B0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6DCD6B39-EB31-2F49-89C8-6B6E76F5F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837220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alf Screen Image </a:t>
            </a:r>
            <a:br>
              <a:rPr lang="en-US"/>
            </a:br>
            <a:r>
              <a:rPr lang="en-US"/>
              <a:t>Left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874867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" name="Logo">
            <a:extLst>
              <a:ext uri="{FF2B5EF4-FFF2-40B4-BE49-F238E27FC236}">
                <a16:creationId xmlns:a16="http://schemas.microsoft.com/office/drawing/2014/main" id="{CB5C008C-DE62-D640-A9D2-EF2A6A211AC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44786BA-F201-A940-A396-8F0284DE6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5C40E22-ED91-5145-86C6-D0DD13110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53DC8F5-7F30-B144-A7A2-39A4BFBFE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B15F073-5285-5948-9758-8E54F3497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28B1850-6523-5F46-AC47-F41B71216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4F23E04-2E4D-ED4A-B9E9-9301E776E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4C55765-05D9-A449-A616-9CBCCA7A1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7E37694-2FEB-FB41-B157-60C042230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A2C24CE0-52B4-664E-9580-087D05C0B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936AE499-E886-304D-B265-D0E84870F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14119FE-5A98-AF4B-8A5A-AFE31DE30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1413631-07A2-C941-B44C-B7D5B6ADE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F7CDE0A-10D9-BE4F-83CB-674291AAF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421794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57833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62277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49819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1453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996316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8818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881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5863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6955951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0035758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25878610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5091926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3499478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31964436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9670681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67975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25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51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5951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06896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35531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05696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410658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11676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76459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1410513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Private | Confidential | Internal Use Only </a:t>
            </a:r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38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</a:rPr>
              <a:t>5/10/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69593-55FD-44A3-915A-0C67686BD17C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19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bg>
      <p:bgPr>
        <a:gradFill>
          <a:gsLst>
            <a:gs pos="0">
              <a:schemeClr val="tx2">
                <a:lumMod val="80000"/>
                <a:lumOff val="20000"/>
              </a:schemeClr>
            </a:gs>
            <a:gs pos="37000">
              <a:schemeClr val="tx2">
                <a:lumMod val="90000"/>
                <a:lumOff val="10000"/>
              </a:schemeClr>
            </a:gs>
            <a:gs pos="100000">
              <a:srgbClr val="0056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86000"/>
                </a:schemeClr>
              </a:gs>
              <a:gs pos="45000">
                <a:schemeClr val="tx2">
                  <a:alpha val="50000"/>
                </a:schemeClr>
              </a:gs>
              <a:gs pos="100000">
                <a:srgbClr val="0155E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0195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4486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 2">
    <p:bg>
      <p:bgPr>
        <a:gradFill>
          <a:gsLst>
            <a:gs pos="0">
              <a:schemeClr val="tx2">
                <a:lumMod val="80000"/>
                <a:lumOff val="20000"/>
              </a:schemeClr>
            </a:gs>
            <a:gs pos="32000">
              <a:schemeClr val="tx2"/>
            </a:gs>
            <a:gs pos="100000">
              <a:srgbClr val="0056EF">
                <a:lumMod val="90000"/>
                <a:lumOff val="10000"/>
              </a:srgb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2694FF"/>
              </a:gs>
              <a:gs pos="45000">
                <a:schemeClr val="tx2">
                  <a:alpha val="31000"/>
                </a:schemeClr>
              </a:gs>
              <a:gs pos="100000">
                <a:srgbClr val="0155E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33286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 3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AD1E4">
                  <a:alpha val="87000"/>
                </a:srgbClr>
              </a:gs>
              <a:gs pos="43000">
                <a:schemeClr val="tx2">
                  <a:alpha val="39000"/>
                </a:schemeClr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08566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0408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575614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8679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 INFORM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61088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60412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light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31484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40937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5126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406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004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11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0895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287395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10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81202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801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947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2449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48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9439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5645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77841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 - INFORM 2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 – INFORM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46489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978343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05157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087683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046799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54742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rgbClr val="CD44E0"/>
            </a:gs>
            <a:gs pos="100000">
              <a:srgbClr val="9628A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04281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3522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132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, Numbe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481638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, Numbe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1475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lor Texture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17747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lor Texture">
    <p:bg>
      <p:bgPr>
        <a:gradFill>
          <a:gsLst>
            <a:gs pos="0">
              <a:srgbClr val="2694FF"/>
            </a:gs>
            <a:gs pos="43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5" name="Group 14"/>
          <p:cNvGrpSpPr/>
          <p:nvPr/>
        </p:nvGrpSpPr>
        <p:grpSpPr>
          <a:xfrm>
            <a:off x="955643" y="4240362"/>
            <a:ext cx="869950" cy="869950"/>
            <a:chOff x="3513138" y="642938"/>
            <a:chExt cx="869950" cy="869950"/>
          </a:xfrm>
          <a:solidFill>
            <a:schemeClr val="bg1">
              <a:alpha val="7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392083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lor Texture">
    <p:bg>
      <p:bgPr>
        <a:gradFill>
          <a:gsLst>
            <a:gs pos="0">
              <a:schemeClr val="bg2">
                <a:lumMod val="90000"/>
                <a:lumOff val="10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75070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tx2">
                <a:lumMod val="85000"/>
                <a:lumOff val="15000"/>
              </a:schemeClr>
            </a:gs>
            <a:gs pos="100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738854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Section Slide -2">
    <p:bg>
      <p:bgPr>
        <a:gradFill>
          <a:gsLst>
            <a:gs pos="34000">
              <a:schemeClr val="tx2">
                <a:lumMod val="75000"/>
              </a:schemeClr>
            </a:gs>
            <a:gs pos="74000">
              <a:schemeClr val="accent4">
                <a:lumMod val="75000"/>
              </a:schemeClr>
            </a:gs>
          </a:gsLst>
          <a:lin ang="264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2">
            <a:alphaModFix amt="28000"/>
            <a:grayscl/>
          </a:blip>
          <a:stretch>
            <a:fillRect/>
          </a:stretch>
        </p:blipFill>
        <p:spPr>
          <a:xfrm>
            <a:off x="0" y="0"/>
            <a:ext cx="12166600" cy="6858000"/>
          </a:xfrm>
          <a:prstGeom prst="rect">
            <a:avLst/>
          </a:prstGeom>
          <a:noFill/>
        </p:spPr>
      </p:pic>
      <p:sp>
        <p:nvSpPr>
          <p:cNvPr id="43" name="Rectangle 4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8000">
                <a:schemeClr val="accent4">
                  <a:lumMod val="75000"/>
                  <a:alpha val="78000"/>
                </a:schemeClr>
              </a:gs>
              <a:gs pos="32000">
                <a:schemeClr val="accent4">
                  <a:alpha val="6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3599" dirty="0">
              <a:solidFill>
                <a:prstClr val="white"/>
              </a:solidFill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1048006" y="1"/>
            <a:ext cx="1799697" cy="1518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35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269164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597651"/>
            <a:ext cx="12213167" cy="260349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1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06881"/>
            <a:ext cx="10972800" cy="4410287"/>
          </a:xfrm>
        </p:spPr>
        <p:txBody>
          <a:bodyPr>
            <a:noAutofit/>
          </a:bodyPr>
          <a:lstStyle>
            <a:lvl1pPr marL="230712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1pPr>
            <a:lvl2pPr marL="609585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2pPr>
            <a:lvl3pPr marL="988459" indent="-230712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3pPr>
            <a:lvl4pPr marL="1375799" indent="-230712">
              <a:buClr>
                <a:schemeClr val="tx1"/>
              </a:buClr>
              <a:buSzPct val="85000"/>
              <a:defRPr sz="2133">
                <a:solidFill>
                  <a:schemeClr val="tx1"/>
                </a:solidFill>
              </a:defRPr>
            </a:lvl4pPr>
            <a:lvl5pPr marL="1754673" indent="-230712">
              <a:buClr>
                <a:schemeClr val="tx1"/>
              </a:buClr>
              <a:buSzPct val="85000"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378886"/>
            <a:ext cx="10972800" cy="1177909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34F64-698F-794A-A1F2-9CAA0373F000}" type="slidenum">
              <a:rPr lang="en-GB">
                <a:solidFill>
                  <a:prstClr val="white">
                    <a:lumMod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051436"/>
      </p:ext>
    </p:extLst>
  </p:cSld>
  <p:clrMapOvr>
    <a:masterClrMapping/>
  </p:clrMapOvr>
  <p:transition spd="med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5762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2134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13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-26670" y="0"/>
            <a:ext cx="1221867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5" y="1"/>
            <a:ext cx="1799697" cy="1518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902208" y="3724623"/>
            <a:ext cx="8564880" cy="1378093"/>
            <a:chOff x="914400" y="4004380"/>
            <a:chExt cx="8564880" cy="1378093"/>
          </a:xfrm>
        </p:grpSpPr>
        <p:sp>
          <p:nvSpPr>
            <p:cNvPr id="25" name="Rectangle 24"/>
            <p:cNvSpPr/>
            <p:nvPr/>
          </p:nvSpPr>
          <p:spPr>
            <a:xfrm>
              <a:off x="914400" y="4004380"/>
              <a:ext cx="8564880" cy="950389"/>
            </a:xfrm>
            <a:prstGeom prst="rect">
              <a:avLst/>
            </a:prstGeom>
            <a:solidFill>
              <a:srgbClr val="0079E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rtl="1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14400" y="4954769"/>
              <a:ext cx="8031480" cy="42770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r" rtl="1">
                <a:defRPr/>
              </a:pPr>
              <a:endParaRPr lang="en-US" sz="1600" kern="0" dirty="0">
                <a:solidFill>
                  <a:srgbClr val="0079EF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>
          <a:xfrm>
            <a:off x="935038" y="3723985"/>
            <a:ext cx="8478087" cy="953451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35038" y="4691698"/>
            <a:ext cx="7953692" cy="428625"/>
          </a:xfr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9E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LICK TO EDIT TAGL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05" y="615387"/>
            <a:ext cx="2799736" cy="67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44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46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02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95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86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43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29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89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23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58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50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5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63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52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26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27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71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80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92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59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7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79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89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52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99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7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35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69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2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802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61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65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93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37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25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9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05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70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14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5510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5914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8530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67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3941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963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6733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1058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5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1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9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61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62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52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164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65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9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13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854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8"/>
          </a:xfrm>
        </p:spPr>
        <p:txBody>
          <a:bodyPr/>
          <a:lstStyle>
            <a:lvl1pPr marL="228600" indent="-228600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4" y="1825625"/>
            <a:ext cx="3229804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8625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9272"/>
            <a:ext cx="10311765" cy="10762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5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5" y="2043605"/>
            <a:ext cx="10311765" cy="4133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4915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9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lnSpc>
                <a:spcPct val="90000"/>
              </a:lnSpc>
              <a:defRPr/>
            </a:pPr>
            <a:endParaRPr lang="en-US" sz="1351" kern="0" dirty="0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defRPr/>
            </a:pPr>
            <a:endParaRPr lang="en-US" sz="1351" kern="0">
              <a:solidFill>
                <a:prstClr val="white"/>
              </a:solidFill>
            </a:endParaRP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ysClr val="window" lastClr="FFFFFF"/>
          </a:solidFill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4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5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7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1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</p:grpSp>
      <p:sp>
        <p:nvSpPr>
          <p:cNvPr id="28" name="Title 1"/>
          <p:cNvSpPr txBox="1">
            <a:spLocks/>
          </p:cNvSpPr>
          <p:nvPr userDrawn="1"/>
        </p:nvSpPr>
        <p:spPr>
          <a:xfrm>
            <a:off x="914400" y="3614237"/>
            <a:ext cx="10579608" cy="16459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solidFill>
                  <a:sysClr val="window" lastClr="FFFFFF"/>
                </a:solidFill>
              </a:rPr>
              <a:t>Thank you.</a:t>
            </a:r>
            <a:endParaRPr lang="en-US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15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algn="r" rtl="1"/>
            <a:fld id="{97BC7CAC-C9FE-4DB1-904F-EED98328AF44}" type="datetimeFigureOut">
              <a:rPr lang="en-GB" smtClean="0">
                <a:solidFill>
                  <a:srgbClr val="000000"/>
                </a:solidFill>
              </a:rPr>
              <a:pPr algn="r" rtl="1"/>
              <a:t>24/08/2021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3413136-6C25-41C9-B6DB-9FB63D49FD9B}" type="slidenum">
              <a:rPr lang="en-GB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05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8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7" y="766397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9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17503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ue Title Slide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8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7" y="766397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16507"/>
            <a:ext cx="10579608" cy="164592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370405"/>
            <a:ext cx="10579608" cy="86186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0539" y="5279567"/>
            <a:ext cx="4007404" cy="83631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28589" indent="0">
              <a:buNone/>
              <a:defRPr>
                <a:solidFill>
                  <a:schemeClr val="bg1"/>
                </a:solidFill>
              </a:defRPr>
            </a:lvl2pPr>
            <a:lvl3pPr marL="400031" indent="0">
              <a:buNone/>
              <a:defRPr>
                <a:solidFill>
                  <a:schemeClr val="bg1"/>
                </a:solidFill>
              </a:defRPr>
            </a:lvl3pPr>
            <a:lvl4pPr marL="571472" indent="0">
              <a:buNone/>
              <a:defRPr>
                <a:solidFill>
                  <a:schemeClr val="bg1"/>
                </a:solidFill>
              </a:defRPr>
            </a:lvl4pPr>
            <a:lvl5pPr marL="74291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324615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8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7" y="766397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9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0133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46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8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7" y="766397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9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46431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450290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7" y="429275"/>
            <a:ext cx="10311765" cy="10762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7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7" y="2043607"/>
            <a:ext cx="10311765" cy="4133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90146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151" y="2497876"/>
            <a:ext cx="10312400" cy="3679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46151" y="1993267"/>
            <a:ext cx="10312400" cy="384175"/>
          </a:xfrm>
        </p:spPr>
        <p:txBody>
          <a:bodyPr/>
          <a:lstStyle>
            <a:lvl1pPr marL="0" indent="0">
              <a:buNone/>
              <a:defRPr b="1"/>
            </a:lvl1pPr>
            <a:lvl2pPr marL="228589" indent="0">
              <a:buNone/>
              <a:defRPr b="1"/>
            </a:lvl2pPr>
            <a:lvl3pPr marL="400031" indent="0">
              <a:buNone/>
              <a:defRPr b="1"/>
            </a:lvl3pPr>
            <a:lvl4pPr marL="571472" indent="0">
              <a:buNone/>
              <a:defRPr b="1"/>
            </a:lvl4pPr>
            <a:lvl5pPr marL="742913" indent="0">
              <a:buNone/>
              <a:defRPr b="1"/>
            </a:lvl5pPr>
          </a:lstStyle>
          <a:p>
            <a:pPr lvl="0"/>
            <a:r>
              <a:rPr lang="en-US" dirty="0"/>
              <a:t>Click to edit Heading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26493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7260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543804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92174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D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34943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Aquamar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300156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" y="3"/>
            <a:ext cx="8547101" cy="685800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2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-506425" y="5418153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0787351" y="282497"/>
            <a:ext cx="1122152" cy="1122155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9938460" y="1127367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3081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8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8627"/>
            <a:ext cx="10408603" cy="1262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6" y="1828800"/>
            <a:ext cx="508116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2974" y="2447925"/>
            <a:ext cx="508497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828800"/>
            <a:ext cx="508635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447925"/>
            <a:ext cx="508635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97102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2973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9351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2035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9"/>
          </a:xfrm>
        </p:spPr>
        <p:txBody>
          <a:bodyPr/>
          <a:lstStyle>
            <a:lvl1pPr marL="228589" indent="-228589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5" y="1825625"/>
            <a:ext cx="3229804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96869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047751" y="1825629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404101" y="1827243"/>
            <a:ext cx="3854451" cy="4242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1652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2" y="1825629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46787" y="1820863"/>
            <a:ext cx="3858768" cy="4242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783739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7425" y="1951466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Rectangle 7"/>
          <p:cNvSpPr/>
          <p:nvPr/>
        </p:nvSpPr>
        <p:spPr>
          <a:xfrm>
            <a:off x="0" y="1"/>
            <a:ext cx="1137424" cy="200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170968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877" y="1951466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2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7718568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334" y="165506"/>
            <a:ext cx="10311765" cy="974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95855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64476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2460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666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8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7" y="766397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5260159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err="1"/>
              <a:t>www.microfocu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26284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3" y="6426104"/>
            <a:ext cx="995579" cy="210312"/>
          </a:xfrm>
          <a:prstGeom prst="rect">
            <a:avLst/>
          </a:prstGeom>
        </p:spPr>
        <p:txBody>
          <a:bodyPr/>
          <a:lstStyle/>
          <a:p>
            <a:fld id="{B90D5E75-13A1-48F0-B29F-D1A9799A9E5F}" type="datetime4">
              <a:rPr lang="en-US" smtClean="0">
                <a:solidFill>
                  <a:prstClr val="black"/>
                </a:solidFill>
              </a:rPr>
              <a:pPr/>
              <a:t>August 24, 20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2" y="6426104"/>
            <a:ext cx="4025199" cy="21031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01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/>
          <a:lstStyle/>
          <a:p>
            <a:pPr defTabSz="914354"/>
            <a:fld id="{684E3265-88A3-4C30-AE11-BFDF645909E9}" type="datetime4">
              <a:rPr lang="en-US" smtClean="0">
                <a:solidFill>
                  <a:prstClr val="black"/>
                </a:solidFill>
              </a:rPr>
              <a:pPr defTabSz="914354"/>
              <a:t>August 24, 20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1" y="6426104"/>
            <a:ext cx="4025199" cy="210312"/>
          </a:xfrm>
          <a:prstGeom prst="rect">
            <a:avLst/>
          </a:prstGeom>
        </p:spPr>
        <p:txBody>
          <a:bodyPr/>
          <a:lstStyle/>
          <a:p>
            <a:pPr defTabSz="914354"/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13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1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1" y="3767327"/>
            <a:ext cx="9109711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4" y="4240362"/>
            <a:ext cx="869951" cy="869951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1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474674"/>
      </p:ext>
    </p:extLst>
  </p:cSld>
  <p:clrMapOvr>
    <a:masterClrMapping/>
  </p:clrMapOvr>
  <p:hf hdr="0" ftr="0" dt="0"/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-26670" y="0"/>
            <a:ext cx="1221867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5" y="1"/>
            <a:ext cx="1799697" cy="1518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902208" y="3724623"/>
            <a:ext cx="8564880" cy="1378093"/>
            <a:chOff x="914400" y="4004380"/>
            <a:chExt cx="8564880" cy="1378093"/>
          </a:xfrm>
        </p:grpSpPr>
        <p:sp>
          <p:nvSpPr>
            <p:cNvPr id="25" name="Rectangle 24"/>
            <p:cNvSpPr/>
            <p:nvPr/>
          </p:nvSpPr>
          <p:spPr>
            <a:xfrm>
              <a:off x="914400" y="4004380"/>
              <a:ext cx="8564880" cy="950389"/>
            </a:xfrm>
            <a:prstGeom prst="rect">
              <a:avLst/>
            </a:prstGeom>
            <a:solidFill>
              <a:srgbClr val="0079E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rtl="1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14400" y="4954769"/>
              <a:ext cx="8031480" cy="42770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r" rtl="1">
                <a:defRPr/>
              </a:pPr>
              <a:endParaRPr lang="en-US" sz="1600" kern="0" dirty="0">
                <a:solidFill>
                  <a:srgbClr val="0079EF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/>
          </p:nvPr>
        </p:nvSpPr>
        <p:spPr>
          <a:xfrm>
            <a:off x="935038" y="3723985"/>
            <a:ext cx="8478087" cy="953451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35038" y="4691698"/>
            <a:ext cx="7953692" cy="428625"/>
          </a:xfr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79E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LICK TO EDIT TAGL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05" y="615387"/>
            <a:ext cx="2799736" cy="67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90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35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51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3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81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077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8"/>
          </a:xfrm>
        </p:spPr>
        <p:txBody>
          <a:bodyPr/>
          <a:lstStyle>
            <a:lvl1pPr marL="228600" indent="-228600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4" y="1825625"/>
            <a:ext cx="3229804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723756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3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64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96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35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31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56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6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78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96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18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9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sz="1351" kern="0" dirty="0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1" kern="0">
              <a:solidFill>
                <a:prstClr val="white"/>
              </a:solidFill>
            </a:endParaRP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ysClr val="window" lastClr="FFFFFF"/>
          </a:solidFill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4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5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7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1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</p:grpSp>
      <p:sp>
        <p:nvSpPr>
          <p:cNvPr id="28" name="Title 1"/>
          <p:cNvSpPr txBox="1">
            <a:spLocks/>
          </p:cNvSpPr>
          <p:nvPr userDrawn="1"/>
        </p:nvSpPr>
        <p:spPr>
          <a:xfrm>
            <a:off x="914400" y="3614237"/>
            <a:ext cx="10579608" cy="16459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solidFill>
                  <a:sysClr val="window" lastClr="FFFFFF"/>
                </a:solidFill>
              </a:rPr>
              <a:t>Thank you.</a:t>
            </a:r>
            <a:endParaRPr lang="en-US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27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01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5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36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30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373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97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24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62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64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7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12234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5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59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7344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7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018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03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14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53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51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67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24" y="1237"/>
            <a:ext cx="12198448" cy="685552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5296" y="1060540"/>
            <a:ext cx="731520" cy="73152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424" y="5157215"/>
            <a:ext cx="4267200" cy="1219200"/>
          </a:xfrm>
        </p:spPr>
        <p:txBody>
          <a:bodyPr>
            <a:noAutofit/>
          </a:bodyPr>
          <a:lstStyle>
            <a:lvl1pPr marL="0" indent="0" algn="l">
              <a:buNone/>
              <a:defRPr sz="18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424" y="2279904"/>
            <a:ext cx="10574965" cy="2208245"/>
          </a:xfrm>
        </p:spPr>
        <p:txBody>
          <a:bodyPr anchor="t">
            <a:normAutofit/>
          </a:bodyPr>
          <a:lstStyle>
            <a:lvl1pPr algn="l">
              <a:defRPr sz="50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003445" y="5793720"/>
            <a:ext cx="1578956" cy="37848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9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1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2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3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4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5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6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7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8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9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0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1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2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545904882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9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1484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95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7227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0786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3449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4570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4199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79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91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633"/>
            <a:ext cx="12240683" cy="6879263"/>
          </a:xfrm>
          <a:prstGeom prst="rect">
            <a:avLst/>
          </a:prstGeom>
        </p:spPr>
      </p:pic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609600" y="2276872"/>
            <a:ext cx="10972800" cy="144016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27649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89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75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62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61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47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9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9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8"/>
          </a:xfrm>
        </p:spPr>
        <p:txBody>
          <a:bodyPr/>
          <a:lstStyle>
            <a:lvl1pPr marL="228600" indent="-228600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4" y="1825625"/>
            <a:ext cx="3229804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9754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9272"/>
            <a:ext cx="10311765" cy="10762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5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5" y="2043605"/>
            <a:ext cx="10311765" cy="4133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209054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9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lnSpc>
                <a:spcPct val="90000"/>
              </a:lnSpc>
              <a:defRPr/>
            </a:pPr>
            <a:endParaRPr lang="en-US" sz="1351" kern="0" dirty="0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defRPr/>
            </a:pPr>
            <a:endParaRPr lang="en-US" sz="1351" kern="0">
              <a:solidFill>
                <a:prstClr val="white"/>
              </a:solidFill>
            </a:endParaRP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ysClr val="window" lastClr="FFFFFF"/>
          </a:solidFill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4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5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7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  <p:sp>
          <p:nvSpPr>
            <p:cNvPr id="61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>
                <a:defRPr/>
              </a:pPr>
              <a:endParaRPr lang="en-US" sz="1351" kern="0">
                <a:solidFill>
                  <a:srgbClr val="212E35"/>
                </a:solidFill>
              </a:endParaRPr>
            </a:p>
          </p:txBody>
        </p:sp>
      </p:grpSp>
      <p:sp>
        <p:nvSpPr>
          <p:cNvPr id="28" name="Title 1"/>
          <p:cNvSpPr txBox="1">
            <a:spLocks/>
          </p:cNvSpPr>
          <p:nvPr userDrawn="1"/>
        </p:nvSpPr>
        <p:spPr>
          <a:xfrm>
            <a:off x="914400" y="3614237"/>
            <a:ext cx="10579608" cy="16459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solidFill>
                  <a:sysClr val="window" lastClr="FFFFFF"/>
                </a:solidFill>
              </a:rPr>
              <a:t>Thank you.</a:t>
            </a:r>
            <a:endParaRPr lang="en-US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67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 2 -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633"/>
            <a:ext cx="12240683" cy="6879263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4418338" y="2717800"/>
            <a:ext cx="3390868" cy="81280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9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0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1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4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347966321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algn="r" rtl="1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3413136-6C25-41C9-B6DB-9FB63D49FD9B}" type="slidenum">
              <a:rPr lang="en-GB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69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0487009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135705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5507635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3042782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738488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287146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5147012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479955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044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98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658087"/>
      </p:ext>
    </p:extLst>
  </p:cSld>
  <p:clrMapOvr>
    <a:masterClrMapping/>
  </p:clrMapOvr>
  <p:hf hdr="0" ftr="0" dt="0"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0066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3678437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0623774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7233364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3127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740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682062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209800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13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060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624180"/>
      </p:ext>
    </p:extLst>
  </p:cSld>
  <p:clrMapOvr>
    <a:masterClrMapping/>
  </p:clrMapOvr>
  <p:hf hdr="0" ftr="0" dt="0"/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3453208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160564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3783102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1982779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35404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9736564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74844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1569467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287201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54062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382165"/>
      </p:ext>
    </p:extLst>
  </p:cSld>
  <p:clrMapOvr>
    <a:masterClrMapping/>
  </p:clrMapOvr>
  <p:hf hdr="0" ftr="0" dt="0"/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7565717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4812292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051103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5132013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71402208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79453351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98302741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12057074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720666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969085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6088"/>
      </p:ext>
    </p:extLst>
  </p:cSld>
  <p:clrMapOvr>
    <a:masterClrMapping/>
  </p:clrMapOvr>
  <p:hf hdr="0" ftr="0" dt="0"/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29011871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57756725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0986443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1427042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19081418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70344156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16659652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5477227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8270492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21408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68025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1201038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316905236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5202225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1010384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82150786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89420642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346701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65075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22820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03015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434991"/>
      </p:ext>
    </p:extLst>
  </p:cSld>
  <p:clrMapOvr>
    <a:masterClrMapping/>
  </p:clrMapOvr>
  <p:hf hdr="0" ftr="0" dt="0"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2672871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678015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58202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376519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674292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821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42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457014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86943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7699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33312"/>
      </p:ext>
    </p:extLst>
  </p:cSld>
  <p:clrMapOvr>
    <a:masterClrMapping/>
  </p:clrMapOvr>
  <p:hf hdr="0" ftr="0" dt="0"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38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93440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2485471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3094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589731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194851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452972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391210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0620202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752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235983"/>
      </p:ext>
    </p:extLst>
  </p:cSld>
  <p:clrMapOvr>
    <a:masterClrMapping/>
  </p:clrMapOvr>
  <p:hf hdr="0" ftr="0" dt="0"/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086680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2282178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12401006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9380093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7796441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1278101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9653804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65758580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7708676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119729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92296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28183990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4741206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68369419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5435950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3853701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18119175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404143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80376606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26744060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3692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52752"/>
      </p:ext>
    </p:extLst>
  </p:cSld>
  <p:clrMapOvr>
    <a:masterClrMapping/>
  </p:clrMapOvr>
  <p:hf hdr="0" ftr="0" dt="0"/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16548300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6434871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3850242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/>
          <p:cNvSpPr>
            <a:spLocks noGrp="1"/>
          </p:cNvSpPr>
          <p:nvPr>
            <p:ph type="ctrTitle" hasCustomPrompt="1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PM Virtual</a:t>
            </a:r>
            <a:br>
              <a:rPr lang="en-US" dirty="0"/>
            </a:br>
            <a:r>
              <a:rPr lang="en-US" dirty="0"/>
              <a:t>Customer Forum</a:t>
            </a:r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84472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257177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36855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662227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07933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126561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974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55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775217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273521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549777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425128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552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731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344296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 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002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839072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335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1012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283003"/>
      </p:ext>
    </p:extLst>
  </p:cSld>
  <p:clrMapOvr>
    <a:masterClrMapping/>
  </p:clrMapOvr>
  <p:hf hdr="0" ftr="0" dt="0"/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490163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58470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421632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255167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07113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172766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3897267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842078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0058992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4524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908812"/>
      </p:ext>
    </p:extLst>
  </p:cSld>
  <p:clrMapOvr>
    <a:masterClrMapping/>
  </p:clrMapOvr>
  <p:hf hdr="0" ftr="0" dt="0"/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915987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734923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44860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669680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86801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3235409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65844848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11414604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03272571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272341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1002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31365784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45898903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793381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256710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546892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06068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4000">
              <a:srgbClr val="BF1697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43079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266491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003234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5645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0271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1956236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bg>
      <p:bgPr>
        <a:gradFill>
          <a:gsLst>
            <a:gs pos="0">
              <a:schemeClr val="tx2">
                <a:lumMod val="80000"/>
                <a:lumOff val="20000"/>
              </a:schemeClr>
            </a:gs>
            <a:gs pos="100000">
              <a:schemeClr val="tx2"/>
            </a:gs>
            <a:gs pos="100000">
              <a:srgbClr val="0056EF">
                <a:lumMod val="90000"/>
                <a:lumOff val="10000"/>
              </a:srgb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7" name="Picture Placeholder 2"/>
          <p:cNvSpPr>
            <a:spLocks noGrp="1"/>
          </p:cNvSpPr>
          <p:nvPr>
            <p:ph type="pic" idx="13"/>
          </p:nvPr>
        </p:nvSpPr>
        <p:spPr>
          <a:xfrm>
            <a:off x="1" y="19323"/>
            <a:ext cx="12191999" cy="6857999"/>
          </a:xfrm>
        </p:spPr>
      </p:sp>
      <p:sp>
        <p:nvSpPr>
          <p:cNvPr id="37" name="Title 1"/>
          <p:cNvSpPr>
            <a:spLocks noGrp="1"/>
          </p:cNvSpPr>
          <p:nvPr>
            <p:ph type="ctrTitle" hasCustomPrompt="1"/>
          </p:nvPr>
        </p:nvSpPr>
        <p:spPr>
          <a:xfrm>
            <a:off x="930880" y="3446588"/>
            <a:ext cx="8735635" cy="131884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of Course</a:t>
            </a:r>
            <a:br>
              <a:rPr lang="en-US" dirty="0"/>
            </a:br>
            <a:r>
              <a:rPr lang="en-US" sz="3600" dirty="0"/>
              <a:t>Type of Training,</a:t>
            </a:r>
            <a:r>
              <a:rPr lang="en-US" sz="3600" baseline="0" dirty="0"/>
              <a:t> Level ###</a:t>
            </a:r>
            <a:br>
              <a:rPr lang="en-US" sz="3600" dirty="0"/>
            </a:br>
            <a:endParaRPr lang="en-US" dirty="0"/>
          </a:p>
        </p:txBody>
      </p:sp>
      <p:sp>
        <p:nvSpPr>
          <p:cNvPr id="41" name="Shape 48"/>
          <p:cNvSpPr>
            <a:spLocks noGrp="1"/>
          </p:cNvSpPr>
          <p:nvPr>
            <p:ph type="body" sz="quarter" idx="12" hasCustomPrompt="1"/>
          </p:nvPr>
        </p:nvSpPr>
        <p:spPr>
          <a:xfrm>
            <a:off x="932556" y="4931917"/>
            <a:ext cx="4270249" cy="7699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pPr lvl="2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Department</a:t>
            </a:r>
            <a:endParaRPr dirty="0"/>
          </a:p>
        </p:txBody>
      </p:sp>
      <p:sp>
        <p:nvSpPr>
          <p:cNvPr id="46" name="Shape 48"/>
          <p:cNvSpPr>
            <a:spLocks noGrp="1"/>
          </p:cNvSpPr>
          <p:nvPr>
            <p:ph type="body" sz="quarter" idx="11" hasCustomPrompt="1"/>
          </p:nvPr>
        </p:nvSpPr>
        <p:spPr>
          <a:xfrm>
            <a:off x="930880" y="6196333"/>
            <a:ext cx="4270249" cy="4317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 b="1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pPr lvl="2"/>
            <a:r>
              <a:rPr lang="en-US" dirty="0"/>
              <a:t>Month Year</a:t>
            </a:r>
            <a:endParaRPr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600826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Divider_Slide">
    <p:bg>
      <p:bgPr>
        <a:gradFill flip="none" rotWithShape="1">
          <a:gsLst>
            <a:gs pos="35000">
              <a:srgbClr val="29ADFE"/>
            </a:gs>
            <a:gs pos="74000">
              <a:srgbClr val="114E91"/>
            </a:gs>
          </a:gsLst>
          <a:lin ang="2639999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1" name="Picture 58" descr="Picture 58"/>
          <p:cNvPicPr>
            <a:picLocks noChangeAspect="1"/>
          </p:cNvPicPr>
          <p:nvPr userDrawn="1"/>
        </p:nvPicPr>
        <p:blipFill>
          <a:blip r:embed="rId2">
            <a:alphaModFix amt="28000"/>
          </a:blip>
          <a:stretch>
            <a:fillRect/>
          </a:stretch>
        </p:blipFill>
        <p:spPr>
          <a:xfrm>
            <a:off x="0" y="0"/>
            <a:ext cx="121666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72" name="Rectangle 95"/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gradFill>
            <a:gsLst>
              <a:gs pos="33000">
                <a:schemeClr val="accent5">
                  <a:alpha val="12000"/>
                </a:schemeClr>
              </a:gs>
              <a:gs pos="83000">
                <a:srgbClr val="114E91">
                  <a:alpha val="39000"/>
                </a:srgbClr>
              </a:gs>
            </a:gsLst>
            <a:lin ang="2639999"/>
          </a:gradFill>
          <a:ln w="12700">
            <a:miter lim="400000"/>
          </a:ln>
        </p:spPr>
        <p:txBody>
          <a:bodyPr lIns="45719" rIns="45719" anchor="ctr"/>
          <a:lstStyle/>
          <a:p>
            <a:pPr algn="ctr" defTabSz="914400" hangingPunct="0">
              <a:defRPr>
                <a:solidFill>
                  <a:srgbClr val="FFFFFF"/>
                </a:solidFill>
              </a:defRPr>
            </a:pPr>
            <a:endParaRPr kern="0" dirty="0">
              <a:solidFill>
                <a:srgbClr val="FFFFFF"/>
              </a:solidFill>
              <a:cs typeface="Calibri"/>
              <a:sym typeface="Calibri"/>
            </a:endParaRPr>
          </a:p>
        </p:txBody>
      </p:sp>
      <p:grpSp>
        <p:nvGrpSpPr>
          <p:cNvPr id="387" name="Group 47"/>
          <p:cNvGrpSpPr/>
          <p:nvPr/>
        </p:nvGrpSpPr>
        <p:grpSpPr>
          <a:xfrm>
            <a:off x="11311010" y="6527385"/>
            <a:ext cx="740367" cy="179272"/>
            <a:chOff x="0" y="0"/>
            <a:chExt cx="740366" cy="179271"/>
          </a:xfrm>
        </p:grpSpPr>
        <p:sp>
          <p:nvSpPr>
            <p:cNvPr id="374" name="Freeform 5"/>
            <p:cNvSpPr/>
            <p:nvPr/>
          </p:nvSpPr>
          <p:spPr>
            <a:xfrm>
              <a:off x="-1" y="37251"/>
              <a:ext cx="142021" cy="142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5311" y="0"/>
                  </a:lnTo>
                  <a:lnTo>
                    <a:pt x="5311" y="16289"/>
                  </a:lnTo>
                  <a:lnTo>
                    <a:pt x="21600" y="16289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75" name="Freeform 6"/>
            <p:cNvSpPr/>
            <p:nvPr/>
          </p:nvSpPr>
          <p:spPr>
            <a:xfrm>
              <a:off x="34922" y="4656"/>
              <a:ext cx="142021" cy="13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04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289" y="21600"/>
                  </a:lnTo>
                  <a:lnTo>
                    <a:pt x="16289" y="5040"/>
                  </a:lnTo>
                  <a:lnTo>
                    <a:pt x="0" y="504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76" name="Freeform 7"/>
            <p:cNvSpPr/>
            <p:nvPr/>
          </p:nvSpPr>
          <p:spPr>
            <a:xfrm>
              <a:off x="216522" y="4656"/>
              <a:ext cx="81487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0"/>
                  </a:lnTo>
                  <a:lnTo>
                    <a:pt x="17897" y="0"/>
                  </a:lnTo>
                  <a:lnTo>
                    <a:pt x="11109" y="10800"/>
                  </a:lnTo>
                  <a:lnTo>
                    <a:pt x="432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320" y="21600"/>
                  </a:lnTo>
                  <a:lnTo>
                    <a:pt x="4320" y="7425"/>
                  </a:lnTo>
                  <a:lnTo>
                    <a:pt x="9874" y="16200"/>
                  </a:lnTo>
                  <a:lnTo>
                    <a:pt x="12343" y="16200"/>
                  </a:lnTo>
                  <a:lnTo>
                    <a:pt x="17897" y="7425"/>
                  </a:lnTo>
                  <a:lnTo>
                    <a:pt x="17897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77" name="Freeform 8"/>
            <p:cNvSpPr/>
            <p:nvPr/>
          </p:nvSpPr>
          <p:spPr>
            <a:xfrm>
              <a:off x="337588" y="4656"/>
              <a:ext cx="13970" cy="74503"/>
            </a:xfrm>
            <a:prstGeom prst="rect">
              <a:avLst/>
            </a:pr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78" name="Freeform 9"/>
            <p:cNvSpPr/>
            <p:nvPr/>
          </p:nvSpPr>
          <p:spPr>
            <a:xfrm>
              <a:off x="391136" y="4656"/>
              <a:ext cx="72175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14850"/>
                  </a:lnTo>
                  <a:lnTo>
                    <a:pt x="17419" y="14850"/>
                  </a:lnTo>
                  <a:lnTo>
                    <a:pt x="17419" y="17550"/>
                  </a:lnTo>
                  <a:lnTo>
                    <a:pt x="4181" y="17550"/>
                  </a:lnTo>
                  <a:lnTo>
                    <a:pt x="4181" y="4050"/>
                  </a:lnTo>
                  <a:lnTo>
                    <a:pt x="17419" y="4050"/>
                  </a:lnTo>
                  <a:lnTo>
                    <a:pt x="17419" y="6075"/>
                  </a:lnTo>
                  <a:lnTo>
                    <a:pt x="21600" y="6750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0925"/>
                  </a:lnTo>
                  <a:lnTo>
                    <a:pt x="2090" y="21600"/>
                  </a:lnTo>
                  <a:lnTo>
                    <a:pt x="19510" y="21600"/>
                  </a:lnTo>
                  <a:lnTo>
                    <a:pt x="21600" y="20925"/>
                  </a:lnTo>
                  <a:lnTo>
                    <a:pt x="21600" y="19575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79" name="Freeform 10"/>
            <p:cNvSpPr/>
            <p:nvPr/>
          </p:nvSpPr>
          <p:spPr>
            <a:xfrm>
              <a:off x="502890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14850" y="12825"/>
                  </a:lnTo>
                  <a:lnTo>
                    <a:pt x="19575" y="12825"/>
                  </a:lnTo>
                  <a:lnTo>
                    <a:pt x="20925" y="12150"/>
                  </a:lnTo>
                  <a:lnTo>
                    <a:pt x="21600" y="10800"/>
                  </a:lnTo>
                  <a:lnTo>
                    <a:pt x="21600" y="2025"/>
                  </a:lnTo>
                  <a:lnTo>
                    <a:pt x="20925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050" y="21600"/>
                  </a:lnTo>
                  <a:lnTo>
                    <a:pt x="4050" y="12825"/>
                  </a:lnTo>
                  <a:lnTo>
                    <a:pt x="9450" y="12825"/>
                  </a:lnTo>
                  <a:lnTo>
                    <a:pt x="16200" y="21600"/>
                  </a:lnTo>
                  <a:lnTo>
                    <a:pt x="21600" y="21600"/>
                  </a:lnTo>
                  <a:close/>
                  <a:moveTo>
                    <a:pt x="4050" y="4050"/>
                  </a:moveTo>
                  <a:lnTo>
                    <a:pt x="16875" y="4050"/>
                  </a:lnTo>
                  <a:lnTo>
                    <a:pt x="16875" y="8775"/>
                  </a:lnTo>
                  <a:lnTo>
                    <a:pt x="4050" y="8775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0" name="Freeform 11"/>
            <p:cNvSpPr/>
            <p:nvPr/>
          </p:nvSpPr>
          <p:spPr>
            <a:xfrm>
              <a:off x="614643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2025"/>
                  </a:lnTo>
                  <a:lnTo>
                    <a:pt x="20925" y="0"/>
                  </a:lnTo>
                  <a:lnTo>
                    <a:pt x="675" y="0"/>
                  </a:lnTo>
                  <a:lnTo>
                    <a:pt x="0" y="2025"/>
                  </a:lnTo>
                  <a:lnTo>
                    <a:pt x="0" y="19575"/>
                  </a:lnTo>
                  <a:lnTo>
                    <a:pt x="675" y="2092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25"/>
                  </a:lnTo>
                  <a:lnTo>
                    <a:pt x="21600" y="19575"/>
                  </a:lnTo>
                  <a:close/>
                  <a:moveTo>
                    <a:pt x="4050" y="4050"/>
                  </a:moveTo>
                  <a:lnTo>
                    <a:pt x="17550" y="4050"/>
                  </a:lnTo>
                  <a:lnTo>
                    <a:pt x="17550" y="17550"/>
                  </a:lnTo>
                  <a:lnTo>
                    <a:pt x="4050" y="17550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1" name="Freeform 12"/>
            <p:cNvSpPr/>
            <p:nvPr/>
          </p:nvSpPr>
          <p:spPr>
            <a:xfrm>
              <a:off x="216522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582"/>
                  </a:move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725" y="21600"/>
                  </a:lnTo>
                  <a:lnTo>
                    <a:pt x="4725" y="13091"/>
                  </a:lnTo>
                  <a:lnTo>
                    <a:pt x="17550" y="13091"/>
                  </a:lnTo>
                  <a:lnTo>
                    <a:pt x="17550" y="8509"/>
                  </a:lnTo>
                  <a:lnTo>
                    <a:pt x="4725" y="8509"/>
                  </a:lnTo>
                  <a:lnTo>
                    <a:pt x="4725" y="4582"/>
                  </a:lnTo>
                  <a:lnTo>
                    <a:pt x="2160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2" name="Freeform 13"/>
            <p:cNvSpPr/>
            <p:nvPr/>
          </p:nvSpPr>
          <p:spPr>
            <a:xfrm>
              <a:off x="311978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  <a:moveTo>
                    <a:pt x="4050" y="4582"/>
                  </a:moveTo>
                  <a:lnTo>
                    <a:pt x="17550" y="4582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3" name="Freeform 14"/>
            <p:cNvSpPr/>
            <p:nvPr/>
          </p:nvSpPr>
          <p:spPr>
            <a:xfrm>
              <a:off x="412090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4400"/>
                  </a:lnTo>
                  <a:lnTo>
                    <a:pt x="17550" y="15055"/>
                  </a:lnTo>
                  <a:lnTo>
                    <a:pt x="17550" y="17018"/>
                  </a:lnTo>
                  <a:lnTo>
                    <a:pt x="4725" y="17018"/>
                  </a:lnTo>
                  <a:lnTo>
                    <a:pt x="4725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700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700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4" name="Freeform 15"/>
            <p:cNvSpPr/>
            <p:nvPr/>
          </p:nvSpPr>
          <p:spPr>
            <a:xfrm>
              <a:off x="514531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0"/>
                  </a:lnTo>
                  <a:lnTo>
                    <a:pt x="16875" y="0"/>
                  </a:lnTo>
                  <a:lnTo>
                    <a:pt x="16875" y="17018"/>
                  </a:lnTo>
                  <a:lnTo>
                    <a:pt x="4050" y="17018"/>
                  </a:lnTo>
                  <a:lnTo>
                    <a:pt x="4050" y="0"/>
                  </a:lnTo>
                  <a:lnTo>
                    <a:pt x="0" y="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8900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5" name="Freeform 16"/>
            <p:cNvSpPr/>
            <p:nvPr/>
          </p:nvSpPr>
          <p:spPr>
            <a:xfrm>
              <a:off x="614643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1127"/>
                  </a:lnTo>
                  <a:lnTo>
                    <a:pt x="20925" y="9164"/>
                  </a:lnTo>
                  <a:lnTo>
                    <a:pt x="19575" y="8509"/>
                  </a:lnTo>
                  <a:lnTo>
                    <a:pt x="4050" y="8509"/>
                  </a:lnTo>
                  <a:lnTo>
                    <a:pt x="4050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0473"/>
                  </a:lnTo>
                  <a:lnTo>
                    <a:pt x="675" y="12436"/>
                  </a:lnTo>
                  <a:lnTo>
                    <a:pt x="2025" y="13091"/>
                  </a:lnTo>
                  <a:lnTo>
                    <a:pt x="17550" y="13091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15055"/>
                  </a:lnTo>
                  <a:lnTo>
                    <a:pt x="0" y="1440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  <p:sp>
          <p:nvSpPr>
            <p:cNvPr id="386" name="Freeform 17"/>
            <p:cNvSpPr/>
            <p:nvPr/>
          </p:nvSpPr>
          <p:spPr>
            <a:xfrm>
              <a:off x="707771" y="-1"/>
              <a:ext cx="32596" cy="325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lnTo>
                    <a:pt x="6171" y="20057"/>
                  </a:lnTo>
                  <a:lnTo>
                    <a:pt x="3086" y="18514"/>
                  </a:lnTo>
                  <a:lnTo>
                    <a:pt x="0" y="13886"/>
                  </a:lnTo>
                  <a:lnTo>
                    <a:pt x="0" y="6171"/>
                  </a:lnTo>
                  <a:lnTo>
                    <a:pt x="6171" y="0"/>
                  </a:lnTo>
                  <a:lnTo>
                    <a:pt x="13886" y="0"/>
                  </a:lnTo>
                  <a:lnTo>
                    <a:pt x="18514" y="3086"/>
                  </a:lnTo>
                  <a:lnTo>
                    <a:pt x="20057" y="6171"/>
                  </a:lnTo>
                  <a:lnTo>
                    <a:pt x="21600" y="10800"/>
                  </a:lnTo>
                  <a:lnTo>
                    <a:pt x="20057" y="13886"/>
                  </a:lnTo>
                  <a:lnTo>
                    <a:pt x="18514" y="18514"/>
                  </a:lnTo>
                  <a:lnTo>
                    <a:pt x="13886" y="20057"/>
                  </a:lnTo>
                  <a:lnTo>
                    <a:pt x="10800" y="21600"/>
                  </a:lnTo>
                  <a:close/>
                  <a:moveTo>
                    <a:pt x="10800" y="0"/>
                  </a:moveTo>
                  <a:lnTo>
                    <a:pt x="6171" y="1543"/>
                  </a:lnTo>
                  <a:lnTo>
                    <a:pt x="3086" y="3086"/>
                  </a:lnTo>
                  <a:lnTo>
                    <a:pt x="1543" y="6171"/>
                  </a:lnTo>
                  <a:lnTo>
                    <a:pt x="0" y="10800"/>
                  </a:lnTo>
                  <a:lnTo>
                    <a:pt x="3086" y="16971"/>
                  </a:lnTo>
                  <a:lnTo>
                    <a:pt x="6171" y="18514"/>
                  </a:lnTo>
                  <a:lnTo>
                    <a:pt x="10800" y="20057"/>
                  </a:lnTo>
                  <a:lnTo>
                    <a:pt x="16971" y="16971"/>
                  </a:lnTo>
                  <a:lnTo>
                    <a:pt x="20057" y="10800"/>
                  </a:lnTo>
                  <a:lnTo>
                    <a:pt x="18514" y="6171"/>
                  </a:lnTo>
                  <a:lnTo>
                    <a:pt x="16971" y="3086"/>
                  </a:lnTo>
                  <a:lnTo>
                    <a:pt x="10800" y="0"/>
                  </a:lnTo>
                  <a:close/>
                  <a:moveTo>
                    <a:pt x="12343" y="16971"/>
                  </a:moveTo>
                  <a:lnTo>
                    <a:pt x="10800" y="10800"/>
                  </a:lnTo>
                  <a:lnTo>
                    <a:pt x="7714" y="10800"/>
                  </a:lnTo>
                  <a:lnTo>
                    <a:pt x="7714" y="16971"/>
                  </a:lnTo>
                  <a:lnTo>
                    <a:pt x="6171" y="16971"/>
                  </a:lnTo>
                  <a:lnTo>
                    <a:pt x="6171" y="3086"/>
                  </a:lnTo>
                  <a:lnTo>
                    <a:pt x="10800" y="3086"/>
                  </a:lnTo>
                  <a:lnTo>
                    <a:pt x="13886" y="4629"/>
                  </a:lnTo>
                  <a:lnTo>
                    <a:pt x="13886" y="9257"/>
                  </a:lnTo>
                  <a:lnTo>
                    <a:pt x="12343" y="10800"/>
                  </a:lnTo>
                  <a:lnTo>
                    <a:pt x="13886" y="16971"/>
                  </a:lnTo>
                  <a:lnTo>
                    <a:pt x="12343" y="16971"/>
                  </a:lnTo>
                  <a:close/>
                  <a:moveTo>
                    <a:pt x="7714" y="9257"/>
                  </a:moveTo>
                  <a:lnTo>
                    <a:pt x="12343" y="9257"/>
                  </a:lnTo>
                  <a:lnTo>
                    <a:pt x="12343" y="6171"/>
                  </a:lnTo>
                  <a:lnTo>
                    <a:pt x="9257" y="4629"/>
                  </a:lnTo>
                  <a:lnTo>
                    <a:pt x="7714" y="4629"/>
                  </a:lnTo>
                  <a:lnTo>
                    <a:pt x="7714" y="9257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400" hangingPunct="0"/>
              <a:endParaRPr kern="0" dirty="0">
                <a:solidFill>
                  <a:srgbClr val="212E35"/>
                </a:solidFill>
                <a:cs typeface="Calibri"/>
                <a:sym typeface="Calibri"/>
              </a:endParaRPr>
            </a:p>
          </p:txBody>
        </p:sp>
      </p:grpSp>
      <p:sp>
        <p:nvSpPr>
          <p:cNvPr id="3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39" name="Content Placeholder"/>
          <p:cNvSpPr>
            <a:spLocks noGrp="1"/>
          </p:cNvSpPr>
          <p:nvPr>
            <p:ph idx="1" hasCustomPrompt="1"/>
          </p:nvPr>
        </p:nvSpPr>
        <p:spPr>
          <a:xfrm>
            <a:off x="967967" y="1757294"/>
            <a:ext cx="8692252" cy="2246965"/>
          </a:xfrm>
        </p:spPr>
        <p:txBody>
          <a:bodyPr/>
          <a:lstStyle>
            <a:lvl1pPr>
              <a:buSzPct val="80000"/>
              <a:defRPr sz="3200">
                <a:solidFill>
                  <a:srgbClr val="FFFFFF"/>
                </a:solidFill>
              </a:defRPr>
            </a:lvl1pPr>
            <a:lvl2pPr>
              <a:defRPr sz="2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0" name="Title 1"/>
          <p:cNvSpPr>
            <a:spLocks noGrp="1"/>
          </p:cNvSpPr>
          <p:nvPr>
            <p:ph type="title" hasCustomPrompt="1"/>
          </p:nvPr>
        </p:nvSpPr>
        <p:spPr>
          <a:xfrm>
            <a:off x="946405" y="86960"/>
            <a:ext cx="8713814" cy="1313174"/>
          </a:xfrm>
        </p:spPr>
        <p:txBody>
          <a:bodyPr lIns="91440" tIns="45720" rIns="91440" bIns="45720" anchor="ctr">
            <a:normAutofit/>
          </a:bodyPr>
          <a:lstStyle>
            <a:lvl1pPr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ection Title Text</a:t>
            </a:r>
          </a:p>
        </p:txBody>
      </p:sp>
      <p:sp>
        <p:nvSpPr>
          <p:cNvPr id="21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211407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Divider_Slide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4D205-261D-4C5B-9652-CCAC3F23D0B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833912" y="114377"/>
            <a:ext cx="8713814" cy="1313174"/>
          </a:xfrm>
        </p:spPr>
        <p:txBody>
          <a:bodyPr lIns="91440" tIns="45720" rIns="91440" bIns="45720" anchor="ctr">
            <a:normAutofit/>
          </a:bodyPr>
          <a:lstStyle>
            <a:lvl1pPr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Video Title Text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>
          <a:xfrm>
            <a:off x="6233024" y="3149153"/>
            <a:ext cx="5837056" cy="2246965"/>
          </a:xfrm>
        </p:spPr>
        <p:txBody>
          <a:bodyPr/>
          <a:lstStyle>
            <a:lvl1pPr marL="0" indent="0">
              <a:buSzPct val="80000"/>
              <a:buNone/>
              <a:defRPr sz="3200">
                <a:solidFill>
                  <a:srgbClr val="FFFFFF"/>
                </a:solidFill>
              </a:defRPr>
            </a:lvl1pPr>
            <a:lvl2pPr>
              <a:defRPr sz="2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24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Picture 2" descr="Film, Cinema, Movie, Vide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46" y="1918194"/>
            <a:ext cx="4981575" cy="3238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3430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dioDivider_Slide">
    <p:bg>
      <p:bgPr>
        <a:gradFill>
          <a:gsLst>
            <a:gs pos="0">
              <a:srgbClr val="425569"/>
            </a:gs>
            <a:gs pos="100000">
              <a:srgbClr val="3470E9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4D205-261D-4C5B-9652-CCAC3F23D0B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3912" y="114377"/>
            <a:ext cx="8713814" cy="1313174"/>
          </a:xfrm>
        </p:spPr>
        <p:txBody>
          <a:bodyPr lIns="91440" tIns="45720" rIns="91440" bIns="45720" anchor="ctr">
            <a:normAutofit/>
          </a:bodyPr>
          <a:lstStyle>
            <a:lvl1pPr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Audio Title Text</a:t>
            </a:r>
          </a:p>
        </p:txBody>
      </p:sp>
      <p:sp>
        <p:nvSpPr>
          <p:cNvPr id="12" name="Content Placeholder"/>
          <p:cNvSpPr>
            <a:spLocks noGrp="1"/>
          </p:cNvSpPr>
          <p:nvPr>
            <p:ph idx="1" hasCustomPrompt="1"/>
          </p:nvPr>
        </p:nvSpPr>
        <p:spPr>
          <a:xfrm>
            <a:off x="5792757" y="2868685"/>
            <a:ext cx="5837056" cy="2246965"/>
          </a:xfrm>
        </p:spPr>
        <p:txBody>
          <a:bodyPr/>
          <a:lstStyle>
            <a:lvl1pPr marL="0" indent="0">
              <a:buSzPct val="80000"/>
              <a:buNone/>
              <a:defRPr sz="3200">
                <a:solidFill>
                  <a:srgbClr val="FFFFFF"/>
                </a:solidFill>
              </a:defRPr>
            </a:lvl1pPr>
            <a:lvl2pPr>
              <a:defRPr sz="2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60017" y="2874158"/>
            <a:ext cx="2823883" cy="1515520"/>
            <a:chOff x="1062318" y="1640541"/>
            <a:chExt cx="2823883" cy="1515520"/>
          </a:xfrm>
        </p:grpSpPr>
        <p:sp>
          <p:nvSpPr>
            <p:cNvPr id="14" name="Rounded Rectangle 13"/>
            <p:cNvSpPr/>
            <p:nvPr/>
          </p:nvSpPr>
          <p:spPr>
            <a:xfrm>
              <a:off x="1062318" y="1640541"/>
              <a:ext cx="2823883" cy="151552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76"/>
            <p:cNvSpPr>
              <a:spLocks noChangeArrowheads="1"/>
            </p:cNvSpPr>
            <p:nvPr/>
          </p:nvSpPr>
          <p:spPr bwMode="auto">
            <a:xfrm>
              <a:off x="2561197" y="1910510"/>
              <a:ext cx="827461" cy="1000525"/>
            </a:xfrm>
            <a:custGeom>
              <a:avLst/>
              <a:gdLst>
                <a:gd name="T0" fmla="*/ 4635 w 576"/>
                <a:gd name="T1" fmla="*/ 290196 h 695"/>
                <a:gd name="T2" fmla="*/ 4635 w 576"/>
                <a:gd name="T3" fmla="*/ 290196 h 695"/>
                <a:gd name="T4" fmla="*/ 9691 w 576"/>
                <a:gd name="T5" fmla="*/ 285142 h 695"/>
                <a:gd name="T6" fmla="*/ 58147 w 576"/>
                <a:gd name="T7" fmla="*/ 235863 h 695"/>
                <a:gd name="T8" fmla="*/ 93119 w 576"/>
                <a:gd name="T9" fmla="*/ 235863 h 695"/>
                <a:gd name="T10" fmla="*/ 97754 w 576"/>
                <a:gd name="T11" fmla="*/ 230809 h 695"/>
                <a:gd name="T12" fmla="*/ 97754 w 576"/>
                <a:gd name="T13" fmla="*/ 206380 h 695"/>
                <a:gd name="T14" fmla="*/ 118401 w 576"/>
                <a:gd name="T15" fmla="*/ 212277 h 695"/>
                <a:gd name="T16" fmla="*/ 147053 w 576"/>
                <a:gd name="T17" fmla="*/ 203011 h 695"/>
                <a:gd name="T18" fmla="*/ 147053 w 576"/>
                <a:gd name="T19" fmla="*/ 230809 h 695"/>
                <a:gd name="T20" fmla="*/ 151688 w 576"/>
                <a:gd name="T21" fmla="*/ 235863 h 695"/>
                <a:gd name="T22" fmla="*/ 181182 w 576"/>
                <a:gd name="T23" fmla="*/ 235863 h 695"/>
                <a:gd name="T24" fmla="*/ 232588 w 576"/>
                <a:gd name="T25" fmla="*/ 286826 h 695"/>
                <a:gd name="T26" fmla="*/ 237222 w 576"/>
                <a:gd name="T27" fmla="*/ 292302 h 695"/>
                <a:gd name="T28" fmla="*/ 242279 w 576"/>
                <a:gd name="T29" fmla="*/ 286826 h 695"/>
                <a:gd name="T30" fmla="*/ 227110 w 576"/>
                <a:gd name="T31" fmla="*/ 245129 h 695"/>
                <a:gd name="T32" fmla="*/ 227110 w 576"/>
                <a:gd name="T33" fmla="*/ 241339 h 695"/>
                <a:gd name="T34" fmla="*/ 218683 w 576"/>
                <a:gd name="T35" fmla="*/ 157523 h 695"/>
                <a:gd name="T36" fmla="*/ 192138 w 576"/>
                <a:gd name="T37" fmla="*/ 26113 h 695"/>
                <a:gd name="T38" fmla="*/ 117558 w 576"/>
                <a:gd name="T39" fmla="*/ 0 h 695"/>
                <a:gd name="T40" fmla="*/ 57726 w 576"/>
                <a:gd name="T41" fmla="*/ 23586 h 695"/>
                <a:gd name="T42" fmla="*/ 32866 w 576"/>
                <a:gd name="T43" fmla="*/ 177740 h 695"/>
                <a:gd name="T44" fmla="*/ 31180 w 576"/>
                <a:gd name="T45" fmla="*/ 230809 h 695"/>
                <a:gd name="T46" fmla="*/ 31180 w 576"/>
                <a:gd name="T47" fmla="*/ 231230 h 695"/>
                <a:gd name="T48" fmla="*/ 0 w 576"/>
                <a:gd name="T49" fmla="*/ 285142 h 695"/>
                <a:gd name="T50" fmla="*/ 4635 w 576"/>
                <a:gd name="T51" fmla="*/ 290196 h 695"/>
                <a:gd name="T52" fmla="*/ 96911 w 576"/>
                <a:gd name="T53" fmla="*/ 194587 h 695"/>
                <a:gd name="T54" fmla="*/ 96911 w 576"/>
                <a:gd name="T55" fmla="*/ 194587 h 695"/>
                <a:gd name="T56" fmla="*/ 93541 w 576"/>
                <a:gd name="T57" fmla="*/ 191218 h 695"/>
                <a:gd name="T58" fmla="*/ 63203 w 576"/>
                <a:gd name="T59" fmla="*/ 133515 h 695"/>
                <a:gd name="T60" fmla="*/ 63203 w 576"/>
                <a:gd name="T61" fmla="*/ 133515 h 695"/>
                <a:gd name="T62" fmla="*/ 120507 w 576"/>
                <a:gd name="T63" fmla="*/ 63178 h 695"/>
                <a:gd name="T64" fmla="*/ 149159 w 576"/>
                <a:gd name="T65" fmla="*/ 55596 h 695"/>
                <a:gd name="T66" fmla="*/ 149159 w 576"/>
                <a:gd name="T67" fmla="*/ 56017 h 695"/>
                <a:gd name="T68" fmla="*/ 175705 w 576"/>
                <a:gd name="T69" fmla="*/ 133515 h 695"/>
                <a:gd name="T70" fmla="*/ 118401 w 576"/>
                <a:gd name="T71" fmla="*/ 202168 h 695"/>
                <a:gd name="T72" fmla="*/ 96911 w 576"/>
                <a:gd name="T73" fmla="*/ 194587 h 695"/>
                <a:gd name="T74" fmla="*/ 42557 w 576"/>
                <a:gd name="T75" fmla="*/ 176897 h 695"/>
                <a:gd name="T76" fmla="*/ 42557 w 576"/>
                <a:gd name="T77" fmla="*/ 176897 h 695"/>
                <a:gd name="T78" fmla="*/ 64889 w 576"/>
                <a:gd name="T79" fmla="*/ 29904 h 695"/>
                <a:gd name="T80" fmla="*/ 117558 w 576"/>
                <a:gd name="T81" fmla="*/ 10108 h 695"/>
                <a:gd name="T82" fmla="*/ 184553 w 576"/>
                <a:gd name="T83" fmla="*/ 32852 h 695"/>
                <a:gd name="T84" fmla="*/ 209413 w 576"/>
                <a:gd name="T85" fmla="*/ 157523 h 695"/>
                <a:gd name="T86" fmla="*/ 214048 w 576"/>
                <a:gd name="T87" fmla="*/ 233757 h 695"/>
                <a:gd name="T88" fmla="*/ 181182 w 576"/>
                <a:gd name="T89" fmla="*/ 225755 h 695"/>
                <a:gd name="T90" fmla="*/ 156744 w 576"/>
                <a:gd name="T91" fmla="*/ 225755 h 695"/>
                <a:gd name="T92" fmla="*/ 156744 w 576"/>
                <a:gd name="T93" fmla="*/ 196272 h 695"/>
                <a:gd name="T94" fmla="*/ 156744 w 576"/>
                <a:gd name="T95" fmla="*/ 196272 h 695"/>
                <a:gd name="T96" fmla="*/ 185817 w 576"/>
                <a:gd name="T97" fmla="*/ 133515 h 695"/>
                <a:gd name="T98" fmla="*/ 185817 w 576"/>
                <a:gd name="T99" fmla="*/ 133515 h 695"/>
                <a:gd name="T100" fmla="*/ 185817 w 576"/>
                <a:gd name="T101" fmla="*/ 133094 h 695"/>
                <a:gd name="T102" fmla="*/ 158008 w 576"/>
                <a:gd name="T103" fmla="*/ 50963 h 695"/>
                <a:gd name="T104" fmla="*/ 154637 w 576"/>
                <a:gd name="T105" fmla="*/ 45909 h 695"/>
                <a:gd name="T106" fmla="*/ 151266 w 576"/>
                <a:gd name="T107" fmla="*/ 43382 h 695"/>
                <a:gd name="T108" fmla="*/ 147053 w 576"/>
                <a:gd name="T109" fmla="*/ 45067 h 695"/>
                <a:gd name="T110" fmla="*/ 118822 w 576"/>
                <a:gd name="T111" fmla="*/ 53490 h 695"/>
                <a:gd name="T112" fmla="*/ 53512 w 576"/>
                <a:gd name="T113" fmla="*/ 135621 h 695"/>
                <a:gd name="T114" fmla="*/ 53512 w 576"/>
                <a:gd name="T115" fmla="*/ 136042 h 695"/>
                <a:gd name="T116" fmla="*/ 88063 w 576"/>
                <a:gd name="T117" fmla="*/ 199220 h 695"/>
                <a:gd name="T118" fmla="*/ 88063 w 576"/>
                <a:gd name="T119" fmla="*/ 225755 h 695"/>
                <a:gd name="T120" fmla="*/ 58147 w 576"/>
                <a:gd name="T121" fmla="*/ 225755 h 695"/>
                <a:gd name="T122" fmla="*/ 42978 w 576"/>
                <a:gd name="T123" fmla="*/ 227439 h 695"/>
                <a:gd name="T124" fmla="*/ 42557 w 576"/>
                <a:gd name="T125" fmla="*/ 176897 h 6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76" h="695">
                  <a:moveTo>
                    <a:pt x="11" y="689"/>
                  </a:moveTo>
                  <a:lnTo>
                    <a:pt x="11" y="689"/>
                  </a:lnTo>
                  <a:cubicBezTo>
                    <a:pt x="18" y="689"/>
                    <a:pt x="23" y="683"/>
                    <a:pt x="23" y="677"/>
                  </a:cubicBezTo>
                  <a:cubicBezTo>
                    <a:pt x="23" y="602"/>
                    <a:pt x="66" y="560"/>
                    <a:pt x="138" y="560"/>
                  </a:cubicBezTo>
                  <a:cubicBezTo>
                    <a:pt x="221" y="560"/>
                    <a:pt x="221" y="560"/>
                    <a:pt x="221" y="560"/>
                  </a:cubicBezTo>
                  <a:cubicBezTo>
                    <a:pt x="227" y="560"/>
                    <a:pt x="232" y="554"/>
                    <a:pt x="232" y="548"/>
                  </a:cubicBezTo>
                  <a:cubicBezTo>
                    <a:pt x="232" y="490"/>
                    <a:pt x="232" y="490"/>
                    <a:pt x="232" y="490"/>
                  </a:cubicBezTo>
                  <a:cubicBezTo>
                    <a:pt x="248" y="498"/>
                    <a:pt x="264" y="504"/>
                    <a:pt x="281" y="504"/>
                  </a:cubicBezTo>
                  <a:cubicBezTo>
                    <a:pt x="305" y="504"/>
                    <a:pt x="328" y="496"/>
                    <a:pt x="349" y="482"/>
                  </a:cubicBezTo>
                  <a:cubicBezTo>
                    <a:pt x="349" y="548"/>
                    <a:pt x="349" y="548"/>
                    <a:pt x="349" y="548"/>
                  </a:cubicBezTo>
                  <a:cubicBezTo>
                    <a:pt x="349" y="554"/>
                    <a:pt x="354" y="560"/>
                    <a:pt x="360" y="560"/>
                  </a:cubicBezTo>
                  <a:cubicBezTo>
                    <a:pt x="430" y="560"/>
                    <a:pt x="430" y="560"/>
                    <a:pt x="430" y="560"/>
                  </a:cubicBezTo>
                  <a:cubicBezTo>
                    <a:pt x="504" y="560"/>
                    <a:pt x="552" y="607"/>
                    <a:pt x="552" y="681"/>
                  </a:cubicBezTo>
                  <a:cubicBezTo>
                    <a:pt x="552" y="689"/>
                    <a:pt x="557" y="694"/>
                    <a:pt x="563" y="694"/>
                  </a:cubicBezTo>
                  <a:cubicBezTo>
                    <a:pt x="569" y="694"/>
                    <a:pt x="575" y="689"/>
                    <a:pt x="575" y="681"/>
                  </a:cubicBezTo>
                  <a:cubicBezTo>
                    <a:pt x="575" y="641"/>
                    <a:pt x="562" y="607"/>
                    <a:pt x="539" y="582"/>
                  </a:cubicBezTo>
                  <a:cubicBezTo>
                    <a:pt x="540" y="579"/>
                    <a:pt x="540" y="575"/>
                    <a:pt x="539" y="573"/>
                  </a:cubicBezTo>
                  <a:cubicBezTo>
                    <a:pt x="515" y="528"/>
                    <a:pt x="517" y="454"/>
                    <a:pt x="519" y="374"/>
                  </a:cubicBezTo>
                  <a:cubicBezTo>
                    <a:pt x="523" y="263"/>
                    <a:pt x="527" y="135"/>
                    <a:pt x="456" y="62"/>
                  </a:cubicBezTo>
                  <a:cubicBezTo>
                    <a:pt x="415" y="20"/>
                    <a:pt x="358" y="0"/>
                    <a:pt x="279" y="0"/>
                  </a:cubicBezTo>
                  <a:cubicBezTo>
                    <a:pt x="220" y="0"/>
                    <a:pt x="172" y="19"/>
                    <a:pt x="137" y="56"/>
                  </a:cubicBezTo>
                  <a:cubicBezTo>
                    <a:pt x="58" y="140"/>
                    <a:pt x="70" y="302"/>
                    <a:pt x="78" y="422"/>
                  </a:cubicBezTo>
                  <a:cubicBezTo>
                    <a:pt x="81" y="475"/>
                    <a:pt x="85" y="542"/>
                    <a:pt x="74" y="548"/>
                  </a:cubicBezTo>
                  <a:cubicBezTo>
                    <a:pt x="74" y="549"/>
                    <a:pt x="74" y="549"/>
                    <a:pt x="74" y="549"/>
                  </a:cubicBezTo>
                  <a:cubicBezTo>
                    <a:pt x="27" y="569"/>
                    <a:pt x="0" y="614"/>
                    <a:pt x="0" y="677"/>
                  </a:cubicBezTo>
                  <a:cubicBezTo>
                    <a:pt x="0" y="683"/>
                    <a:pt x="5" y="689"/>
                    <a:pt x="11" y="689"/>
                  </a:cubicBezTo>
                  <a:close/>
                  <a:moveTo>
                    <a:pt x="230" y="462"/>
                  </a:moveTo>
                  <a:lnTo>
                    <a:pt x="230" y="462"/>
                  </a:lnTo>
                  <a:cubicBezTo>
                    <a:pt x="228" y="457"/>
                    <a:pt x="226" y="455"/>
                    <a:pt x="222" y="454"/>
                  </a:cubicBezTo>
                  <a:cubicBezTo>
                    <a:pt x="182" y="421"/>
                    <a:pt x="150" y="362"/>
                    <a:pt x="150" y="317"/>
                  </a:cubicBezTo>
                  <a:cubicBezTo>
                    <a:pt x="145" y="172"/>
                    <a:pt x="217" y="161"/>
                    <a:pt x="286" y="150"/>
                  </a:cubicBezTo>
                  <a:cubicBezTo>
                    <a:pt x="311" y="147"/>
                    <a:pt x="336" y="143"/>
                    <a:pt x="354" y="132"/>
                  </a:cubicBezTo>
                  <a:cubicBezTo>
                    <a:pt x="354" y="133"/>
                    <a:pt x="354" y="133"/>
                    <a:pt x="354" y="133"/>
                  </a:cubicBezTo>
                  <a:cubicBezTo>
                    <a:pt x="373" y="165"/>
                    <a:pt x="411" y="233"/>
                    <a:pt x="417" y="317"/>
                  </a:cubicBezTo>
                  <a:cubicBezTo>
                    <a:pt x="417" y="391"/>
                    <a:pt x="354" y="480"/>
                    <a:pt x="281" y="480"/>
                  </a:cubicBezTo>
                  <a:cubicBezTo>
                    <a:pt x="263" y="480"/>
                    <a:pt x="247" y="473"/>
                    <a:pt x="230" y="462"/>
                  </a:cubicBezTo>
                  <a:close/>
                  <a:moveTo>
                    <a:pt x="101" y="420"/>
                  </a:moveTo>
                  <a:lnTo>
                    <a:pt x="101" y="420"/>
                  </a:lnTo>
                  <a:cubicBezTo>
                    <a:pt x="94" y="306"/>
                    <a:pt x="82" y="148"/>
                    <a:pt x="154" y="71"/>
                  </a:cubicBezTo>
                  <a:cubicBezTo>
                    <a:pt x="184" y="40"/>
                    <a:pt x="225" y="24"/>
                    <a:pt x="279" y="24"/>
                  </a:cubicBezTo>
                  <a:cubicBezTo>
                    <a:pt x="352" y="24"/>
                    <a:pt x="404" y="42"/>
                    <a:pt x="438" y="78"/>
                  </a:cubicBezTo>
                  <a:cubicBezTo>
                    <a:pt x="503" y="144"/>
                    <a:pt x="500" y="266"/>
                    <a:pt x="497" y="374"/>
                  </a:cubicBezTo>
                  <a:cubicBezTo>
                    <a:pt x="495" y="443"/>
                    <a:pt x="492" y="507"/>
                    <a:pt x="508" y="555"/>
                  </a:cubicBezTo>
                  <a:cubicBezTo>
                    <a:pt x="486" y="543"/>
                    <a:pt x="460" y="536"/>
                    <a:pt x="430" y="536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466"/>
                    <a:pt x="372" y="466"/>
                    <a:pt x="372" y="466"/>
                  </a:cubicBezTo>
                  <a:cubicBezTo>
                    <a:pt x="413" y="428"/>
                    <a:pt x="441" y="369"/>
                    <a:pt x="441" y="317"/>
                  </a:cubicBezTo>
                  <a:lnTo>
                    <a:pt x="441" y="316"/>
                  </a:lnTo>
                  <a:cubicBezTo>
                    <a:pt x="435" y="226"/>
                    <a:pt x="395" y="156"/>
                    <a:pt x="375" y="121"/>
                  </a:cubicBezTo>
                  <a:cubicBezTo>
                    <a:pt x="372" y="116"/>
                    <a:pt x="370" y="112"/>
                    <a:pt x="367" y="109"/>
                  </a:cubicBezTo>
                  <a:cubicBezTo>
                    <a:pt x="366" y="106"/>
                    <a:pt x="362" y="104"/>
                    <a:pt x="359" y="103"/>
                  </a:cubicBezTo>
                  <a:cubicBezTo>
                    <a:pt x="355" y="103"/>
                    <a:pt x="351" y="104"/>
                    <a:pt x="349" y="107"/>
                  </a:cubicBezTo>
                  <a:cubicBezTo>
                    <a:pt x="336" y="119"/>
                    <a:pt x="311" y="123"/>
                    <a:pt x="282" y="127"/>
                  </a:cubicBezTo>
                  <a:cubicBezTo>
                    <a:pt x="213" y="138"/>
                    <a:pt x="119" y="151"/>
                    <a:pt x="127" y="322"/>
                  </a:cubicBezTo>
                  <a:cubicBezTo>
                    <a:pt x="127" y="322"/>
                    <a:pt x="127" y="322"/>
                    <a:pt x="127" y="323"/>
                  </a:cubicBezTo>
                  <a:cubicBezTo>
                    <a:pt x="130" y="374"/>
                    <a:pt x="164" y="437"/>
                    <a:pt x="209" y="473"/>
                  </a:cubicBezTo>
                  <a:cubicBezTo>
                    <a:pt x="209" y="536"/>
                    <a:pt x="209" y="536"/>
                    <a:pt x="209" y="536"/>
                  </a:cubicBezTo>
                  <a:cubicBezTo>
                    <a:pt x="138" y="536"/>
                    <a:pt x="138" y="536"/>
                    <a:pt x="138" y="536"/>
                  </a:cubicBezTo>
                  <a:cubicBezTo>
                    <a:pt x="126" y="536"/>
                    <a:pt x="113" y="538"/>
                    <a:pt x="102" y="540"/>
                  </a:cubicBezTo>
                  <a:cubicBezTo>
                    <a:pt x="107" y="516"/>
                    <a:pt x="105" y="477"/>
                    <a:pt x="101" y="420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79"/>
            <p:cNvSpPr>
              <a:spLocks noChangeArrowheads="1"/>
            </p:cNvSpPr>
            <p:nvPr/>
          </p:nvSpPr>
          <p:spPr bwMode="auto">
            <a:xfrm>
              <a:off x="1390650" y="1863819"/>
              <a:ext cx="903180" cy="1027568"/>
            </a:xfrm>
            <a:custGeom>
              <a:avLst/>
              <a:gdLst>
                <a:gd name="T0" fmla="*/ 5030 w 632"/>
                <a:gd name="T1" fmla="*/ 301565 h 718"/>
                <a:gd name="T2" fmla="*/ 10061 w 632"/>
                <a:gd name="T3" fmla="*/ 283059 h 718"/>
                <a:gd name="T4" fmla="*/ 80486 w 632"/>
                <a:gd name="T5" fmla="*/ 237635 h 718"/>
                <a:gd name="T6" fmla="*/ 103961 w 632"/>
                <a:gd name="T7" fmla="*/ 207773 h 718"/>
                <a:gd name="T8" fmla="*/ 157199 w 632"/>
                <a:gd name="T9" fmla="*/ 206091 h 718"/>
                <a:gd name="T10" fmla="*/ 179836 w 632"/>
                <a:gd name="T11" fmla="*/ 237635 h 718"/>
                <a:gd name="T12" fmla="*/ 254453 w 632"/>
                <a:gd name="T13" fmla="*/ 283059 h 718"/>
                <a:gd name="T14" fmla="*/ 259064 w 632"/>
                <a:gd name="T15" fmla="*/ 301565 h 718"/>
                <a:gd name="T16" fmla="*/ 264514 w 632"/>
                <a:gd name="T17" fmla="*/ 283059 h 718"/>
                <a:gd name="T18" fmla="*/ 182351 w 632"/>
                <a:gd name="T19" fmla="*/ 227962 h 718"/>
                <a:gd name="T20" fmla="*/ 194089 w 632"/>
                <a:gd name="T21" fmla="*/ 140058 h 718"/>
                <a:gd name="T22" fmla="*/ 205407 w 632"/>
                <a:gd name="T23" fmla="*/ 98419 h 718"/>
                <a:gd name="T24" fmla="*/ 195765 w 632"/>
                <a:gd name="T25" fmla="*/ 82857 h 718"/>
                <a:gd name="T26" fmla="*/ 159295 w 632"/>
                <a:gd name="T27" fmla="*/ 7991 h 718"/>
                <a:gd name="T28" fmla="*/ 98092 w 632"/>
                <a:gd name="T29" fmla="*/ 20609 h 718"/>
                <a:gd name="T30" fmla="*/ 58688 w 632"/>
                <a:gd name="T31" fmla="*/ 82016 h 718"/>
                <a:gd name="T32" fmla="*/ 48627 w 632"/>
                <a:gd name="T33" fmla="*/ 99260 h 718"/>
                <a:gd name="T34" fmla="*/ 62460 w 632"/>
                <a:gd name="T35" fmla="*/ 140478 h 718"/>
                <a:gd name="T36" fmla="*/ 77971 w 632"/>
                <a:gd name="T37" fmla="*/ 227962 h 718"/>
                <a:gd name="T38" fmla="*/ 0 w 632"/>
                <a:gd name="T39" fmla="*/ 283059 h 718"/>
                <a:gd name="T40" fmla="*/ 5030 w 632"/>
                <a:gd name="T41" fmla="*/ 301565 h 718"/>
                <a:gd name="T42" fmla="*/ 72521 w 632"/>
                <a:gd name="T43" fmla="*/ 136272 h 718"/>
                <a:gd name="T44" fmla="*/ 58688 w 632"/>
                <a:gd name="T45" fmla="*/ 123654 h 718"/>
                <a:gd name="T46" fmla="*/ 59945 w 632"/>
                <a:gd name="T47" fmla="*/ 92110 h 718"/>
                <a:gd name="T48" fmla="*/ 62880 w 632"/>
                <a:gd name="T49" fmla="*/ 91689 h 718"/>
                <a:gd name="T50" fmla="*/ 68329 w 632"/>
                <a:gd name="T51" fmla="*/ 87063 h 718"/>
                <a:gd name="T52" fmla="*/ 97673 w 632"/>
                <a:gd name="T53" fmla="*/ 30703 h 718"/>
                <a:gd name="T54" fmla="*/ 156361 w 632"/>
                <a:gd name="T55" fmla="*/ 16824 h 718"/>
                <a:gd name="T56" fmla="*/ 185705 w 632"/>
                <a:gd name="T57" fmla="*/ 87063 h 718"/>
                <a:gd name="T58" fmla="*/ 194927 w 632"/>
                <a:gd name="T59" fmla="*/ 92531 h 718"/>
                <a:gd name="T60" fmla="*/ 195765 w 632"/>
                <a:gd name="T61" fmla="*/ 123654 h 718"/>
                <a:gd name="T62" fmla="*/ 184447 w 632"/>
                <a:gd name="T63" fmla="*/ 136272 h 718"/>
                <a:gd name="T64" fmla="*/ 72521 w 632"/>
                <a:gd name="T65" fmla="*/ 136272 h 71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32" h="718">
                  <a:moveTo>
                    <a:pt x="12" y="717"/>
                  </a:moveTo>
                  <a:lnTo>
                    <a:pt x="12" y="717"/>
                  </a:lnTo>
                  <a:cubicBezTo>
                    <a:pt x="19" y="717"/>
                    <a:pt x="24" y="712"/>
                    <a:pt x="24" y="706"/>
                  </a:cubicBezTo>
                  <a:cubicBezTo>
                    <a:pt x="24" y="673"/>
                    <a:pt x="24" y="673"/>
                    <a:pt x="24" y="673"/>
                  </a:cubicBezTo>
                  <a:cubicBezTo>
                    <a:pt x="24" y="605"/>
                    <a:pt x="70" y="565"/>
                    <a:pt x="149" y="565"/>
                  </a:cubicBezTo>
                  <a:cubicBezTo>
                    <a:pt x="192" y="565"/>
                    <a:pt x="192" y="565"/>
                    <a:pt x="192" y="565"/>
                  </a:cubicBezTo>
                  <a:cubicBezTo>
                    <a:pt x="197" y="565"/>
                    <a:pt x="200" y="564"/>
                    <a:pt x="202" y="561"/>
                  </a:cubicBezTo>
                  <a:cubicBezTo>
                    <a:pt x="248" y="494"/>
                    <a:pt x="248" y="494"/>
                    <a:pt x="248" y="494"/>
                  </a:cubicBezTo>
                  <a:cubicBezTo>
                    <a:pt x="266" y="505"/>
                    <a:pt x="286" y="510"/>
                    <a:pt x="308" y="510"/>
                  </a:cubicBezTo>
                  <a:cubicBezTo>
                    <a:pt x="332" y="510"/>
                    <a:pt x="354" y="503"/>
                    <a:pt x="375" y="490"/>
                  </a:cubicBezTo>
                  <a:cubicBezTo>
                    <a:pt x="418" y="560"/>
                    <a:pt x="418" y="560"/>
                    <a:pt x="418" y="560"/>
                  </a:cubicBezTo>
                  <a:cubicBezTo>
                    <a:pt x="420" y="563"/>
                    <a:pt x="425" y="565"/>
                    <a:pt x="429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537" y="565"/>
                    <a:pt x="607" y="594"/>
                    <a:pt x="607" y="673"/>
                  </a:cubicBezTo>
                  <a:cubicBezTo>
                    <a:pt x="607" y="706"/>
                    <a:pt x="607" y="706"/>
                    <a:pt x="607" y="706"/>
                  </a:cubicBezTo>
                  <a:cubicBezTo>
                    <a:pt x="607" y="712"/>
                    <a:pt x="612" y="717"/>
                    <a:pt x="618" y="717"/>
                  </a:cubicBezTo>
                  <a:cubicBezTo>
                    <a:pt x="626" y="717"/>
                    <a:pt x="631" y="712"/>
                    <a:pt x="631" y="706"/>
                  </a:cubicBezTo>
                  <a:cubicBezTo>
                    <a:pt x="631" y="673"/>
                    <a:pt x="631" y="673"/>
                    <a:pt x="631" y="673"/>
                  </a:cubicBezTo>
                  <a:cubicBezTo>
                    <a:pt x="631" y="594"/>
                    <a:pt x="568" y="542"/>
                    <a:pt x="472" y="542"/>
                  </a:cubicBezTo>
                  <a:cubicBezTo>
                    <a:pt x="435" y="542"/>
                    <a:pt x="435" y="542"/>
                    <a:pt x="435" y="542"/>
                  </a:cubicBezTo>
                  <a:cubicBezTo>
                    <a:pt x="393" y="476"/>
                    <a:pt x="393" y="476"/>
                    <a:pt x="393" y="476"/>
                  </a:cubicBezTo>
                  <a:cubicBezTo>
                    <a:pt x="433" y="441"/>
                    <a:pt x="460" y="386"/>
                    <a:pt x="463" y="333"/>
                  </a:cubicBezTo>
                  <a:cubicBezTo>
                    <a:pt x="479" y="329"/>
                    <a:pt x="490" y="313"/>
                    <a:pt x="490" y="294"/>
                  </a:cubicBezTo>
                  <a:cubicBezTo>
                    <a:pt x="490" y="234"/>
                    <a:pt x="490" y="234"/>
                    <a:pt x="490" y="234"/>
                  </a:cubicBezTo>
                  <a:cubicBezTo>
                    <a:pt x="490" y="224"/>
                    <a:pt x="490" y="212"/>
                    <a:pt x="482" y="204"/>
                  </a:cubicBezTo>
                  <a:cubicBezTo>
                    <a:pt x="479" y="200"/>
                    <a:pt x="473" y="198"/>
                    <a:pt x="467" y="197"/>
                  </a:cubicBezTo>
                  <a:cubicBezTo>
                    <a:pt x="467" y="149"/>
                    <a:pt x="467" y="149"/>
                    <a:pt x="467" y="149"/>
                  </a:cubicBezTo>
                  <a:cubicBezTo>
                    <a:pt x="465" y="58"/>
                    <a:pt x="412" y="28"/>
                    <a:pt x="380" y="19"/>
                  </a:cubicBezTo>
                  <a:cubicBezTo>
                    <a:pt x="321" y="0"/>
                    <a:pt x="257" y="20"/>
                    <a:pt x="236" y="50"/>
                  </a:cubicBezTo>
                  <a:cubicBezTo>
                    <a:pt x="235" y="50"/>
                    <a:pt x="234" y="49"/>
                    <a:pt x="234" y="49"/>
                  </a:cubicBezTo>
                  <a:cubicBezTo>
                    <a:pt x="180" y="49"/>
                    <a:pt x="140" y="91"/>
                    <a:pt x="140" y="149"/>
                  </a:cubicBezTo>
                  <a:cubicBezTo>
                    <a:pt x="140" y="195"/>
                    <a:pt x="140" y="195"/>
                    <a:pt x="140" y="195"/>
                  </a:cubicBezTo>
                  <a:cubicBezTo>
                    <a:pt x="136" y="197"/>
                    <a:pt x="132" y="199"/>
                    <a:pt x="128" y="203"/>
                  </a:cubicBezTo>
                  <a:cubicBezTo>
                    <a:pt x="120" y="210"/>
                    <a:pt x="115" y="222"/>
                    <a:pt x="116" y="236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16" y="312"/>
                    <a:pt x="131" y="329"/>
                    <a:pt x="149" y="334"/>
                  </a:cubicBezTo>
                  <a:cubicBezTo>
                    <a:pt x="153" y="388"/>
                    <a:pt x="184" y="447"/>
                    <a:pt x="229" y="481"/>
                  </a:cubicBezTo>
                  <a:cubicBezTo>
                    <a:pt x="186" y="542"/>
                    <a:pt x="186" y="542"/>
                    <a:pt x="186" y="542"/>
                  </a:cubicBezTo>
                  <a:cubicBezTo>
                    <a:pt x="149" y="542"/>
                    <a:pt x="149" y="542"/>
                    <a:pt x="149" y="542"/>
                  </a:cubicBezTo>
                  <a:cubicBezTo>
                    <a:pt x="56" y="542"/>
                    <a:pt x="0" y="591"/>
                    <a:pt x="0" y="673"/>
                  </a:cubicBezTo>
                  <a:cubicBezTo>
                    <a:pt x="0" y="706"/>
                    <a:pt x="0" y="706"/>
                    <a:pt x="0" y="706"/>
                  </a:cubicBezTo>
                  <a:cubicBezTo>
                    <a:pt x="0" y="712"/>
                    <a:pt x="5" y="717"/>
                    <a:pt x="12" y="717"/>
                  </a:cubicBezTo>
                  <a:close/>
                  <a:moveTo>
                    <a:pt x="173" y="324"/>
                  </a:moveTo>
                  <a:lnTo>
                    <a:pt x="173" y="324"/>
                  </a:lnTo>
                  <a:cubicBezTo>
                    <a:pt x="173" y="317"/>
                    <a:pt x="167" y="312"/>
                    <a:pt x="160" y="312"/>
                  </a:cubicBezTo>
                  <a:cubicBezTo>
                    <a:pt x="150" y="312"/>
                    <a:pt x="140" y="303"/>
                    <a:pt x="140" y="294"/>
                  </a:cubicBezTo>
                  <a:cubicBezTo>
                    <a:pt x="140" y="235"/>
                    <a:pt x="140" y="235"/>
                    <a:pt x="140" y="235"/>
                  </a:cubicBezTo>
                  <a:cubicBezTo>
                    <a:pt x="139" y="228"/>
                    <a:pt x="140" y="222"/>
                    <a:pt x="143" y="219"/>
                  </a:cubicBezTo>
                  <a:cubicBezTo>
                    <a:pt x="144" y="218"/>
                    <a:pt x="147" y="218"/>
                    <a:pt x="149" y="218"/>
                  </a:cubicBezTo>
                  <a:lnTo>
                    <a:pt x="150" y="218"/>
                  </a:lnTo>
                  <a:cubicBezTo>
                    <a:pt x="153" y="218"/>
                    <a:pt x="157" y="218"/>
                    <a:pt x="159" y="215"/>
                  </a:cubicBezTo>
                  <a:cubicBezTo>
                    <a:pt x="162" y="213"/>
                    <a:pt x="163" y="210"/>
                    <a:pt x="163" y="207"/>
                  </a:cubicBezTo>
                  <a:cubicBezTo>
                    <a:pt x="163" y="149"/>
                    <a:pt x="163" y="149"/>
                    <a:pt x="163" y="149"/>
                  </a:cubicBezTo>
                  <a:cubicBezTo>
                    <a:pt x="163" y="105"/>
                    <a:pt x="192" y="73"/>
                    <a:pt x="233" y="73"/>
                  </a:cubicBezTo>
                  <a:cubicBezTo>
                    <a:pt x="238" y="74"/>
                    <a:pt x="248" y="73"/>
                    <a:pt x="255" y="63"/>
                  </a:cubicBezTo>
                  <a:cubicBezTo>
                    <a:pt x="270" y="40"/>
                    <a:pt x="327" y="26"/>
                    <a:pt x="373" y="40"/>
                  </a:cubicBezTo>
                  <a:cubicBezTo>
                    <a:pt x="405" y="51"/>
                    <a:pt x="442" y="77"/>
                    <a:pt x="443" y="149"/>
                  </a:cubicBezTo>
                  <a:cubicBezTo>
                    <a:pt x="443" y="207"/>
                    <a:pt x="443" y="207"/>
                    <a:pt x="443" y="207"/>
                  </a:cubicBezTo>
                  <a:cubicBezTo>
                    <a:pt x="443" y="213"/>
                    <a:pt x="448" y="218"/>
                    <a:pt x="456" y="218"/>
                  </a:cubicBezTo>
                  <a:cubicBezTo>
                    <a:pt x="463" y="218"/>
                    <a:pt x="465" y="220"/>
                    <a:pt x="465" y="220"/>
                  </a:cubicBezTo>
                  <a:cubicBezTo>
                    <a:pt x="467" y="222"/>
                    <a:pt x="467" y="229"/>
                    <a:pt x="467" y="236"/>
                  </a:cubicBezTo>
                  <a:cubicBezTo>
                    <a:pt x="467" y="294"/>
                    <a:pt x="467" y="294"/>
                    <a:pt x="467" y="294"/>
                  </a:cubicBezTo>
                  <a:cubicBezTo>
                    <a:pt x="467" y="303"/>
                    <a:pt x="462" y="312"/>
                    <a:pt x="452" y="312"/>
                  </a:cubicBezTo>
                  <a:cubicBezTo>
                    <a:pt x="445" y="312"/>
                    <a:pt x="440" y="317"/>
                    <a:pt x="440" y="324"/>
                  </a:cubicBezTo>
                  <a:cubicBezTo>
                    <a:pt x="440" y="397"/>
                    <a:pt x="381" y="487"/>
                    <a:pt x="308" y="487"/>
                  </a:cubicBezTo>
                  <a:cubicBezTo>
                    <a:pt x="233" y="487"/>
                    <a:pt x="173" y="397"/>
                    <a:pt x="173" y="324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3952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ickQuizDivider_Slide">
    <p:bg>
      <p:bgPr>
        <a:gradFill>
          <a:gsLst>
            <a:gs pos="0">
              <a:srgbClr val="3470E9"/>
            </a:gs>
            <a:gs pos="37000">
              <a:srgbClr val="0C90EA"/>
            </a:gs>
            <a:gs pos="100000">
              <a:srgbClr val="231CA5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2645868" y="904016"/>
            <a:ext cx="8713814" cy="1313174"/>
          </a:xfrm>
        </p:spPr>
        <p:txBody>
          <a:bodyPr lIns="91440" tIns="45720" rIns="91440" bIns="45720" anchor="ctr">
            <a:normAutofit/>
          </a:bodyPr>
          <a:lstStyle>
            <a:lvl1pPr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Quick Quiz #</a:t>
            </a:r>
          </a:p>
        </p:txBody>
      </p:sp>
      <p:sp>
        <p:nvSpPr>
          <p:cNvPr id="31" name="Content Placeholder"/>
          <p:cNvSpPr>
            <a:spLocks noGrp="1"/>
          </p:cNvSpPr>
          <p:nvPr>
            <p:ph idx="1" hasCustomPrompt="1"/>
          </p:nvPr>
        </p:nvSpPr>
        <p:spPr>
          <a:xfrm>
            <a:off x="2688899" y="2377218"/>
            <a:ext cx="7347985" cy="2246965"/>
          </a:xfrm>
        </p:spPr>
        <p:txBody>
          <a:bodyPr/>
          <a:lstStyle>
            <a:lvl1pPr marL="0" indent="0">
              <a:buSzPct val="80000"/>
              <a:buNone/>
              <a:defRPr sz="3200">
                <a:solidFill>
                  <a:srgbClr val="FFFFFF"/>
                </a:solidFill>
              </a:defRPr>
            </a:lvl1pPr>
            <a:lvl2pPr>
              <a:defRPr sz="2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919615" y="985832"/>
            <a:ext cx="1122706" cy="1177076"/>
          </a:xfrm>
          <a:prstGeom prst="round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075681" y="1063170"/>
            <a:ext cx="784912" cy="1005912"/>
            <a:chOff x="3155945" y="3794050"/>
            <a:chExt cx="229681" cy="292657"/>
          </a:xfrm>
          <a:solidFill>
            <a:srgbClr val="0078EF"/>
          </a:solidFill>
        </p:grpSpPr>
        <p:sp>
          <p:nvSpPr>
            <p:cNvPr id="8" name="Freeform 228"/>
            <p:cNvSpPr>
              <a:spLocks noChangeArrowheads="1"/>
            </p:cNvSpPr>
            <p:nvPr/>
          </p:nvSpPr>
          <p:spPr bwMode="auto">
            <a:xfrm>
              <a:off x="3155945" y="3794050"/>
              <a:ext cx="229681" cy="292657"/>
            </a:xfrm>
            <a:custGeom>
              <a:avLst/>
              <a:gdLst>
                <a:gd name="T0" fmla="*/ 0 w 548"/>
                <a:gd name="T1" fmla="*/ 419 h 695"/>
                <a:gd name="T2" fmla="*/ 0 w 548"/>
                <a:gd name="T3" fmla="*/ 419 h 695"/>
                <a:gd name="T4" fmla="*/ 274 w 548"/>
                <a:gd name="T5" fmla="*/ 694 h 695"/>
                <a:gd name="T6" fmla="*/ 547 w 548"/>
                <a:gd name="T7" fmla="*/ 419 h 695"/>
                <a:gd name="T8" fmla="*/ 339 w 548"/>
                <a:gd name="T9" fmla="*/ 154 h 695"/>
                <a:gd name="T10" fmla="*/ 339 w 548"/>
                <a:gd name="T11" fmla="*/ 116 h 695"/>
                <a:gd name="T12" fmla="*/ 351 w 548"/>
                <a:gd name="T13" fmla="*/ 116 h 695"/>
                <a:gd name="T14" fmla="*/ 362 w 548"/>
                <a:gd name="T15" fmla="*/ 105 h 695"/>
                <a:gd name="T16" fmla="*/ 362 w 548"/>
                <a:gd name="T17" fmla="*/ 11 h 695"/>
                <a:gd name="T18" fmla="*/ 351 w 548"/>
                <a:gd name="T19" fmla="*/ 0 h 695"/>
                <a:gd name="T20" fmla="*/ 211 w 548"/>
                <a:gd name="T21" fmla="*/ 0 h 695"/>
                <a:gd name="T22" fmla="*/ 199 w 548"/>
                <a:gd name="T23" fmla="*/ 11 h 695"/>
                <a:gd name="T24" fmla="*/ 199 w 548"/>
                <a:gd name="T25" fmla="*/ 105 h 695"/>
                <a:gd name="T26" fmla="*/ 211 w 548"/>
                <a:gd name="T27" fmla="*/ 116 h 695"/>
                <a:gd name="T28" fmla="*/ 223 w 548"/>
                <a:gd name="T29" fmla="*/ 116 h 695"/>
                <a:gd name="T30" fmla="*/ 223 w 548"/>
                <a:gd name="T31" fmla="*/ 151 h 695"/>
                <a:gd name="T32" fmla="*/ 0 w 548"/>
                <a:gd name="T33" fmla="*/ 419 h 695"/>
                <a:gd name="T34" fmla="*/ 525 w 548"/>
                <a:gd name="T35" fmla="*/ 419 h 695"/>
                <a:gd name="T36" fmla="*/ 525 w 548"/>
                <a:gd name="T37" fmla="*/ 419 h 695"/>
                <a:gd name="T38" fmla="*/ 274 w 548"/>
                <a:gd name="T39" fmla="*/ 670 h 695"/>
                <a:gd name="T40" fmla="*/ 23 w 548"/>
                <a:gd name="T41" fmla="*/ 419 h 695"/>
                <a:gd name="T42" fmla="*/ 274 w 548"/>
                <a:gd name="T43" fmla="*/ 169 h 695"/>
                <a:gd name="T44" fmla="*/ 525 w 548"/>
                <a:gd name="T45" fmla="*/ 419 h 695"/>
                <a:gd name="T46" fmla="*/ 223 w 548"/>
                <a:gd name="T47" fmla="*/ 23 h 695"/>
                <a:gd name="T48" fmla="*/ 223 w 548"/>
                <a:gd name="T49" fmla="*/ 23 h 695"/>
                <a:gd name="T50" fmla="*/ 339 w 548"/>
                <a:gd name="T51" fmla="*/ 23 h 695"/>
                <a:gd name="T52" fmla="*/ 339 w 548"/>
                <a:gd name="T53" fmla="*/ 93 h 695"/>
                <a:gd name="T54" fmla="*/ 223 w 548"/>
                <a:gd name="T55" fmla="*/ 93 h 695"/>
                <a:gd name="T56" fmla="*/ 223 w 548"/>
                <a:gd name="T57" fmla="*/ 23 h 695"/>
                <a:gd name="T58" fmla="*/ 245 w 548"/>
                <a:gd name="T59" fmla="*/ 116 h 695"/>
                <a:gd name="T60" fmla="*/ 245 w 548"/>
                <a:gd name="T61" fmla="*/ 116 h 695"/>
                <a:gd name="T62" fmla="*/ 315 w 548"/>
                <a:gd name="T63" fmla="*/ 116 h 695"/>
                <a:gd name="T64" fmla="*/ 315 w 548"/>
                <a:gd name="T65" fmla="*/ 149 h 695"/>
                <a:gd name="T66" fmla="*/ 274 w 548"/>
                <a:gd name="T67" fmla="*/ 146 h 695"/>
                <a:gd name="T68" fmla="*/ 245 w 548"/>
                <a:gd name="T69" fmla="*/ 147 h 695"/>
                <a:gd name="T70" fmla="*/ 245 w 548"/>
                <a:gd name="T71" fmla="*/ 116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8" h="695">
                  <a:moveTo>
                    <a:pt x="0" y="419"/>
                  </a:moveTo>
                  <a:lnTo>
                    <a:pt x="0" y="419"/>
                  </a:lnTo>
                  <a:cubicBezTo>
                    <a:pt x="0" y="570"/>
                    <a:pt x="123" y="694"/>
                    <a:pt x="274" y="694"/>
                  </a:cubicBezTo>
                  <a:cubicBezTo>
                    <a:pt x="425" y="694"/>
                    <a:pt x="547" y="570"/>
                    <a:pt x="547" y="419"/>
                  </a:cubicBezTo>
                  <a:cubicBezTo>
                    <a:pt x="547" y="291"/>
                    <a:pt x="459" y="183"/>
                    <a:pt x="339" y="154"/>
                  </a:cubicBezTo>
                  <a:cubicBezTo>
                    <a:pt x="339" y="116"/>
                    <a:pt x="339" y="116"/>
                    <a:pt x="339" y="116"/>
                  </a:cubicBezTo>
                  <a:cubicBezTo>
                    <a:pt x="351" y="116"/>
                    <a:pt x="351" y="116"/>
                    <a:pt x="351" y="116"/>
                  </a:cubicBezTo>
                  <a:cubicBezTo>
                    <a:pt x="357" y="116"/>
                    <a:pt x="362" y="111"/>
                    <a:pt x="362" y="105"/>
                  </a:cubicBezTo>
                  <a:cubicBezTo>
                    <a:pt x="362" y="11"/>
                    <a:pt x="362" y="11"/>
                    <a:pt x="362" y="11"/>
                  </a:cubicBezTo>
                  <a:cubicBezTo>
                    <a:pt x="362" y="5"/>
                    <a:pt x="357" y="0"/>
                    <a:pt x="351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4" y="0"/>
                    <a:pt x="199" y="5"/>
                    <a:pt x="199" y="11"/>
                  </a:cubicBezTo>
                  <a:cubicBezTo>
                    <a:pt x="199" y="105"/>
                    <a:pt x="199" y="105"/>
                    <a:pt x="199" y="105"/>
                  </a:cubicBezTo>
                  <a:cubicBezTo>
                    <a:pt x="199" y="111"/>
                    <a:pt x="204" y="116"/>
                    <a:pt x="211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23" y="151"/>
                    <a:pt x="223" y="151"/>
                    <a:pt x="223" y="151"/>
                  </a:cubicBezTo>
                  <a:cubicBezTo>
                    <a:pt x="96" y="175"/>
                    <a:pt x="0" y="286"/>
                    <a:pt x="0" y="419"/>
                  </a:cubicBezTo>
                  <a:close/>
                  <a:moveTo>
                    <a:pt x="525" y="419"/>
                  </a:moveTo>
                  <a:lnTo>
                    <a:pt x="525" y="419"/>
                  </a:lnTo>
                  <a:cubicBezTo>
                    <a:pt x="525" y="558"/>
                    <a:pt x="412" y="670"/>
                    <a:pt x="274" y="670"/>
                  </a:cubicBezTo>
                  <a:cubicBezTo>
                    <a:pt x="135" y="670"/>
                    <a:pt x="23" y="558"/>
                    <a:pt x="23" y="419"/>
                  </a:cubicBezTo>
                  <a:cubicBezTo>
                    <a:pt x="23" y="282"/>
                    <a:pt x="135" y="169"/>
                    <a:pt x="274" y="169"/>
                  </a:cubicBezTo>
                  <a:cubicBezTo>
                    <a:pt x="412" y="169"/>
                    <a:pt x="525" y="282"/>
                    <a:pt x="525" y="419"/>
                  </a:cubicBezTo>
                  <a:close/>
                  <a:moveTo>
                    <a:pt x="223" y="23"/>
                  </a:moveTo>
                  <a:lnTo>
                    <a:pt x="223" y="23"/>
                  </a:lnTo>
                  <a:cubicBezTo>
                    <a:pt x="339" y="23"/>
                    <a:pt x="339" y="23"/>
                    <a:pt x="339" y="23"/>
                  </a:cubicBezTo>
                  <a:cubicBezTo>
                    <a:pt x="339" y="93"/>
                    <a:pt x="339" y="93"/>
                    <a:pt x="339" y="93"/>
                  </a:cubicBezTo>
                  <a:cubicBezTo>
                    <a:pt x="223" y="93"/>
                    <a:pt x="223" y="93"/>
                    <a:pt x="223" y="93"/>
                  </a:cubicBezTo>
                  <a:lnTo>
                    <a:pt x="223" y="23"/>
                  </a:lnTo>
                  <a:close/>
                  <a:moveTo>
                    <a:pt x="245" y="116"/>
                  </a:moveTo>
                  <a:lnTo>
                    <a:pt x="245" y="116"/>
                  </a:lnTo>
                  <a:cubicBezTo>
                    <a:pt x="315" y="116"/>
                    <a:pt x="315" y="116"/>
                    <a:pt x="315" y="116"/>
                  </a:cubicBezTo>
                  <a:cubicBezTo>
                    <a:pt x="315" y="149"/>
                    <a:pt x="315" y="149"/>
                    <a:pt x="315" y="149"/>
                  </a:cubicBezTo>
                  <a:cubicBezTo>
                    <a:pt x="302" y="147"/>
                    <a:pt x="288" y="146"/>
                    <a:pt x="274" y="146"/>
                  </a:cubicBezTo>
                  <a:cubicBezTo>
                    <a:pt x="264" y="146"/>
                    <a:pt x="255" y="147"/>
                    <a:pt x="245" y="147"/>
                  </a:cubicBezTo>
                  <a:lnTo>
                    <a:pt x="245" y="11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229"/>
            <p:cNvSpPr>
              <a:spLocks noChangeArrowheads="1"/>
            </p:cNvSpPr>
            <p:nvPr/>
          </p:nvSpPr>
          <p:spPr bwMode="auto">
            <a:xfrm>
              <a:off x="3187434" y="3884811"/>
              <a:ext cx="168555" cy="170408"/>
            </a:xfrm>
            <a:custGeom>
              <a:avLst/>
              <a:gdLst>
                <a:gd name="T0" fmla="*/ 0 w 403"/>
                <a:gd name="T1" fmla="*/ 201 h 404"/>
                <a:gd name="T2" fmla="*/ 0 w 403"/>
                <a:gd name="T3" fmla="*/ 201 h 404"/>
                <a:gd name="T4" fmla="*/ 201 w 403"/>
                <a:gd name="T5" fmla="*/ 403 h 404"/>
                <a:gd name="T6" fmla="*/ 402 w 403"/>
                <a:gd name="T7" fmla="*/ 201 h 404"/>
                <a:gd name="T8" fmla="*/ 201 w 403"/>
                <a:gd name="T9" fmla="*/ 0 h 404"/>
                <a:gd name="T10" fmla="*/ 0 w 403"/>
                <a:gd name="T11" fmla="*/ 201 h 404"/>
                <a:gd name="T12" fmla="*/ 201 w 403"/>
                <a:gd name="T13" fmla="*/ 24 h 404"/>
                <a:gd name="T14" fmla="*/ 201 w 403"/>
                <a:gd name="T15" fmla="*/ 24 h 404"/>
                <a:gd name="T16" fmla="*/ 379 w 403"/>
                <a:gd name="T17" fmla="*/ 201 h 404"/>
                <a:gd name="T18" fmla="*/ 201 w 403"/>
                <a:gd name="T19" fmla="*/ 379 h 404"/>
                <a:gd name="T20" fmla="*/ 23 w 403"/>
                <a:gd name="T21" fmla="*/ 201 h 404"/>
                <a:gd name="T22" fmla="*/ 201 w 403"/>
                <a:gd name="T23" fmla="*/ 2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3" h="404">
                  <a:moveTo>
                    <a:pt x="0" y="201"/>
                  </a:moveTo>
                  <a:lnTo>
                    <a:pt x="0" y="201"/>
                  </a:lnTo>
                  <a:cubicBezTo>
                    <a:pt x="0" y="313"/>
                    <a:pt x="89" y="403"/>
                    <a:pt x="201" y="403"/>
                  </a:cubicBezTo>
                  <a:cubicBezTo>
                    <a:pt x="311" y="403"/>
                    <a:pt x="402" y="313"/>
                    <a:pt x="402" y="201"/>
                  </a:cubicBezTo>
                  <a:cubicBezTo>
                    <a:pt x="402" y="91"/>
                    <a:pt x="311" y="0"/>
                    <a:pt x="201" y="0"/>
                  </a:cubicBezTo>
                  <a:cubicBezTo>
                    <a:pt x="89" y="0"/>
                    <a:pt x="0" y="91"/>
                    <a:pt x="0" y="201"/>
                  </a:cubicBezTo>
                  <a:close/>
                  <a:moveTo>
                    <a:pt x="201" y="24"/>
                  </a:moveTo>
                  <a:lnTo>
                    <a:pt x="201" y="24"/>
                  </a:lnTo>
                  <a:cubicBezTo>
                    <a:pt x="299" y="24"/>
                    <a:pt x="379" y="103"/>
                    <a:pt x="379" y="201"/>
                  </a:cubicBezTo>
                  <a:cubicBezTo>
                    <a:pt x="379" y="300"/>
                    <a:pt x="299" y="379"/>
                    <a:pt x="201" y="379"/>
                  </a:cubicBezTo>
                  <a:cubicBezTo>
                    <a:pt x="103" y="379"/>
                    <a:pt x="23" y="300"/>
                    <a:pt x="23" y="201"/>
                  </a:cubicBezTo>
                  <a:cubicBezTo>
                    <a:pt x="23" y="103"/>
                    <a:pt x="103" y="24"/>
                    <a:pt x="201" y="2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230"/>
            <p:cNvSpPr>
              <a:spLocks noChangeArrowheads="1"/>
            </p:cNvSpPr>
            <p:nvPr/>
          </p:nvSpPr>
          <p:spPr bwMode="auto">
            <a:xfrm>
              <a:off x="3265229" y="3921856"/>
              <a:ext cx="48159" cy="48159"/>
            </a:xfrm>
            <a:custGeom>
              <a:avLst/>
              <a:gdLst>
                <a:gd name="T0" fmla="*/ 13 w 114"/>
                <a:gd name="T1" fmla="*/ 112 h 113"/>
                <a:gd name="T2" fmla="*/ 13 w 114"/>
                <a:gd name="T3" fmla="*/ 112 h 113"/>
                <a:gd name="T4" fmla="*/ 21 w 114"/>
                <a:gd name="T5" fmla="*/ 108 h 113"/>
                <a:gd name="T6" fmla="*/ 108 w 114"/>
                <a:gd name="T7" fmla="*/ 21 h 113"/>
                <a:gd name="T8" fmla="*/ 108 w 114"/>
                <a:gd name="T9" fmla="*/ 4 h 113"/>
                <a:gd name="T10" fmla="*/ 92 w 114"/>
                <a:gd name="T11" fmla="*/ 4 h 113"/>
                <a:gd name="T12" fmla="*/ 4 w 114"/>
                <a:gd name="T13" fmla="*/ 91 h 113"/>
                <a:gd name="T14" fmla="*/ 4 w 114"/>
                <a:gd name="T15" fmla="*/ 108 h 113"/>
                <a:gd name="T16" fmla="*/ 13 w 114"/>
                <a:gd name="T17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13">
                  <a:moveTo>
                    <a:pt x="13" y="112"/>
                  </a:moveTo>
                  <a:lnTo>
                    <a:pt x="13" y="112"/>
                  </a:lnTo>
                  <a:cubicBezTo>
                    <a:pt x="16" y="112"/>
                    <a:pt x="19" y="110"/>
                    <a:pt x="21" y="108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13" y="16"/>
                    <a:pt x="113" y="9"/>
                    <a:pt x="108" y="4"/>
                  </a:cubicBezTo>
                  <a:cubicBezTo>
                    <a:pt x="103" y="0"/>
                    <a:pt x="96" y="0"/>
                    <a:pt x="92" y="4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0" y="97"/>
                    <a:pt x="0" y="104"/>
                    <a:pt x="4" y="108"/>
                  </a:cubicBezTo>
                  <a:cubicBezTo>
                    <a:pt x="6" y="110"/>
                    <a:pt x="10" y="112"/>
                    <a:pt x="13" y="1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9794803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You_Slide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528759" y="1077908"/>
            <a:ext cx="8713814" cy="1313174"/>
          </a:xfrm>
        </p:spPr>
        <p:txBody>
          <a:bodyPr lIns="91440" tIns="45720" rIns="91440" bIns="45720" anchor="ctr">
            <a:normAutofit/>
          </a:bodyPr>
          <a:lstStyle>
            <a:lvl1pPr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4D205-261D-4C5B-9652-CCAC3F23D0B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481507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Quote_Slide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4D205-261D-4C5B-9652-CCAC3F23D0B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17703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2 pt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 sz="2200"/>
            </a:lvl1pPr>
            <a:lvl2pPr>
              <a:defRPr sz="22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3801197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8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8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sz="2200"/>
            </a:lvl1pPr>
            <a:lvl2pPr>
              <a:defRPr sz="2200"/>
            </a:lvl2pPr>
          </a:lstStyle>
          <a:p>
            <a:pPr lvl="0"/>
            <a:r>
              <a:rPr lang="en-US" dirty="0"/>
              <a:t>Click to edit Master text styles (22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Second level (22 pt)</a:t>
            </a:r>
          </a:p>
        </p:txBody>
      </p:sp>
    </p:spTree>
    <p:extLst>
      <p:ext uri="{BB962C8B-B14F-4D97-AF65-F5344CB8AC3E}">
        <p14:creationId xmlns:p14="http://schemas.microsoft.com/office/powerpoint/2010/main" val="10855216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88694"/>
      </p:ext>
    </p:extLst>
  </p:cSld>
  <p:clrMapOvr>
    <a:masterClrMapping/>
  </p:clrMapOvr>
  <p:hf hdr="0" ftr="0" dt="0"/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8030277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8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light (28pt)</a:t>
            </a:r>
          </a:p>
        </p:txBody>
      </p:sp>
    </p:spTree>
    <p:extLst>
      <p:ext uri="{BB962C8B-B14F-4D97-AF65-F5344CB8AC3E}">
        <p14:creationId xmlns:p14="http://schemas.microsoft.com/office/powerpoint/2010/main" val="2676582559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077597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p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3184497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2 pt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pt</a:t>
            </a:r>
          </a:p>
          <a:p>
            <a:pPr lvl="1"/>
            <a:r>
              <a:rPr lang="en-US" dirty="0"/>
              <a:t>Second level 20 p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2 pt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p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9694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2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2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800" b="0" kern="1200" baseline="0" smtClean="0">
                <a:solidFill>
                  <a:srgbClr val="0079EF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8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24983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</a:t>
            </a:r>
          </a:p>
        </p:txBody>
      </p:sp>
    </p:spTree>
    <p:extLst>
      <p:ext uri="{BB962C8B-B14F-4D97-AF65-F5344CB8AC3E}">
        <p14:creationId xmlns:p14="http://schemas.microsoft.com/office/powerpoint/2010/main" val="157835685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pt</a:t>
            </a:r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2 pt</a:t>
            </a:r>
          </a:p>
          <a:p>
            <a:pPr lvl="1"/>
            <a:r>
              <a:rPr lang="en-US" dirty="0"/>
              <a:t>Second level 22 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800" b="0" kern="1200" baseline="0" smtClean="0">
                <a:solidFill>
                  <a:srgbClr val="096EB3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8pt)</a:t>
            </a:r>
          </a:p>
        </p:txBody>
      </p:sp>
    </p:spTree>
    <p:extLst>
      <p:ext uri="{BB962C8B-B14F-4D97-AF65-F5344CB8AC3E}">
        <p14:creationId xmlns:p14="http://schemas.microsoft.com/office/powerpoint/2010/main" val="93093391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</a:t>
            </a:r>
          </a:p>
        </p:txBody>
      </p:sp>
    </p:spTree>
    <p:extLst>
      <p:ext uri="{BB962C8B-B14F-4D97-AF65-F5344CB8AC3E}">
        <p14:creationId xmlns:p14="http://schemas.microsoft.com/office/powerpoint/2010/main" val="3972484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2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2pt)</a:t>
            </a:r>
          </a:p>
        </p:txBody>
      </p:sp>
    </p:spTree>
    <p:extLst>
      <p:ext uri="{BB962C8B-B14F-4D97-AF65-F5344CB8AC3E}">
        <p14:creationId xmlns:p14="http://schemas.microsoft.com/office/powerpoint/2010/main" val="16339864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584159"/>
      </p:ext>
    </p:extLst>
  </p:cSld>
  <p:clrMapOvr>
    <a:masterClrMapping/>
  </p:clrMapOvr>
  <p:hf hdr="0" ftr="0" dt="0"/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p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2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2pt)</a:t>
            </a:r>
          </a:p>
        </p:txBody>
      </p:sp>
    </p:spTree>
    <p:extLst>
      <p:ext uri="{BB962C8B-B14F-4D97-AF65-F5344CB8AC3E}">
        <p14:creationId xmlns:p14="http://schemas.microsoft.com/office/powerpoint/2010/main" val="2067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200"/>
            </a:lvl1pPr>
            <a:lvl2pPr marL="346075" indent="0">
              <a:spcAft>
                <a:spcPts val="600"/>
              </a:spcAft>
              <a:buNone/>
              <a:defRPr sz="22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8348738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457200" indent="-457200">
              <a:spcAft>
                <a:spcPts val="600"/>
              </a:spcAft>
              <a:buSzPct val="100000"/>
              <a:buFont typeface="+mj-lt"/>
              <a:buAutoNum type="arabicPeriod"/>
              <a:defRPr sz="22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657846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176570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8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8pt)</a:t>
            </a:r>
          </a:p>
        </p:txBody>
      </p:sp>
    </p:spTree>
    <p:extLst>
      <p:ext uri="{BB962C8B-B14F-4D97-AF65-F5344CB8AC3E}">
        <p14:creationId xmlns:p14="http://schemas.microsoft.com/office/powerpoint/2010/main" val="2928655940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200"/>
            </a:lvl1pPr>
            <a:lvl2pPr marL="346075" indent="0">
              <a:spcAft>
                <a:spcPts val="1200"/>
              </a:spcAft>
              <a:buNone/>
              <a:defRPr sz="2200"/>
            </a:lvl2pPr>
            <a:lvl3pPr marL="574675" indent="0">
              <a:spcAft>
                <a:spcPts val="1200"/>
              </a:spcAft>
              <a:buNone/>
              <a:defRPr sz="2400"/>
            </a:lvl3pPr>
            <a:lvl4pPr marL="744538" indent="0">
              <a:spcAft>
                <a:spcPts val="1200"/>
              </a:spcAft>
              <a:buNone/>
              <a:defRPr sz="2400"/>
            </a:lvl4pPr>
            <a:lvl5pPr marL="922337" indent="0">
              <a:spcAft>
                <a:spcPts val="1200"/>
              </a:spcAft>
              <a:buNone/>
              <a:defRPr sz="2400"/>
            </a:lvl5pPr>
          </a:lstStyle>
          <a:p>
            <a:pPr lvl="0"/>
            <a:r>
              <a:rPr lang="en-US" dirty="0"/>
              <a:t>First level 22 pt</a:t>
            </a:r>
          </a:p>
          <a:p>
            <a:pPr lvl="1"/>
            <a:r>
              <a:rPr lang="en-US" dirty="0"/>
              <a:t>Second level 22 p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352550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200"/>
            </a:lvl1pPr>
            <a:lvl2pPr>
              <a:spcAft>
                <a:spcPts val="1200"/>
              </a:spcAft>
              <a:defRPr sz="20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2 pt</a:t>
            </a:r>
          </a:p>
          <a:p>
            <a:pPr lvl="1"/>
            <a:r>
              <a:rPr lang="en-US" dirty="0"/>
              <a:t>Second level 20 pt</a:t>
            </a:r>
          </a:p>
          <a:p>
            <a:pPr lvl="2"/>
            <a:r>
              <a:rPr lang="en-US" dirty="0"/>
              <a:t>Third level 18 p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81156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1598784"/>
            <a:ext cx="4383499" cy="3936380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en-US" dirty="0"/>
              <a:t>Right-hand half-screen ima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22 pt text on lef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0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4980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Left-hand half-screen ima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22 pt text on righ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C84D205-261D-4C5B-9652-CCAC3F23D0BE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084150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Content Placeholder"/>
          <p:cNvSpPr>
            <a:spLocks noGrp="1"/>
          </p:cNvSpPr>
          <p:nvPr>
            <p:ph idx="12" hasCustomPrompt="1"/>
          </p:nvPr>
        </p:nvSpPr>
        <p:spPr>
          <a:xfrm>
            <a:off x="918317" y="1770983"/>
            <a:ext cx="8376290" cy="31345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SzPct val="80000"/>
              <a:buFont typeface="Wingdings" panose="05000000000000000000" pitchFamily="2" charset="2"/>
              <a:buNone/>
              <a:defRPr sz="2800" b="1">
                <a:solidFill>
                  <a:srgbClr val="FFFFFF"/>
                </a:solidFill>
              </a:defRPr>
            </a:lvl1pPr>
            <a:lvl2pPr>
              <a:defRPr sz="2400">
                <a:solidFill>
                  <a:srgbClr val="FFFFFF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re’s a quick summary of what you learned:</a:t>
            </a:r>
          </a:p>
          <a:p>
            <a:pPr lvl="1"/>
            <a:r>
              <a:rPr lang="en-US" dirty="0"/>
              <a:t>Summary point</a:t>
            </a:r>
          </a:p>
          <a:p>
            <a:pPr lvl="1"/>
            <a:r>
              <a:rPr lang="en-US" dirty="0"/>
              <a:t>Summary point</a:t>
            </a:r>
          </a:p>
          <a:p>
            <a:pPr lvl="1"/>
            <a:r>
              <a:rPr lang="en-US" dirty="0"/>
              <a:t>Summary point</a:t>
            </a:r>
          </a:p>
        </p:txBody>
      </p:sp>
      <p:sp>
        <p:nvSpPr>
          <p:cNvPr id="7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946785" y="429272"/>
            <a:ext cx="10311766" cy="10762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3600" b="1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None/>
              <a:tabLst/>
            </a:pPr>
            <a:r>
              <a:rPr lang="en-US" dirty="0"/>
              <a:t>Summary</a:t>
            </a:r>
            <a:endParaRPr dirty="0"/>
          </a:p>
        </p:txBody>
      </p:sp>
      <p:sp>
        <p:nvSpPr>
          <p:cNvPr id="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C84D205-261D-4C5B-9652-CCAC3F23D0BE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183496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 Separate Subhea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7" name="Picture 6" descr="Picture 6"/>
          <p:cNvPicPr>
            <a:picLocks noChangeAspect="1"/>
          </p:cNvPicPr>
          <p:nvPr/>
        </p:nvPicPr>
        <p:blipFill>
          <a:blip r:embed="rId2">
            <a:alphaModFix amt="28000"/>
          </a:blip>
          <a:srcRect r="224" b="416"/>
          <a:stretch>
            <a:fillRect/>
          </a:stretch>
        </p:blipFill>
        <p:spPr>
          <a:xfrm rot="10800000">
            <a:off x="-25400" y="-1"/>
            <a:ext cx="12217401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518" name="Rectangle 7"/>
          <p:cNvSpPr/>
          <p:nvPr/>
        </p:nvSpPr>
        <p:spPr>
          <a:xfrm>
            <a:off x="-15461" y="-2"/>
            <a:ext cx="12217400" cy="6858001"/>
          </a:xfrm>
          <a:prstGeom prst="rect">
            <a:avLst/>
          </a:prstGeom>
          <a:gradFill>
            <a:gsLst>
              <a:gs pos="42000">
                <a:srgbClr val="FFFFFF">
                  <a:alpha val="98000"/>
                </a:srgbClr>
              </a:gs>
              <a:gs pos="84000">
                <a:srgbClr val="FFFFFF">
                  <a:alpha val="43000"/>
                </a:srgbClr>
              </a:gs>
            </a:gsLst>
            <a:lin ang="2639999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519" name="Title Text"/>
          <p:cNvSpPr txBox="1">
            <a:spLocks noGrp="1"/>
          </p:cNvSpPr>
          <p:nvPr>
            <p:ph type="title"/>
          </p:nvPr>
        </p:nvSpPr>
        <p:spPr>
          <a:xfrm>
            <a:off x="946785" y="429272"/>
            <a:ext cx="10311766" cy="1076223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dirty="0"/>
              <a:t>Title Text</a:t>
            </a:r>
          </a:p>
        </p:txBody>
      </p:sp>
      <p:grpSp>
        <p:nvGrpSpPr>
          <p:cNvPr id="535" name="Group 37"/>
          <p:cNvGrpSpPr/>
          <p:nvPr/>
        </p:nvGrpSpPr>
        <p:grpSpPr>
          <a:xfrm>
            <a:off x="11311010" y="6527385"/>
            <a:ext cx="740367" cy="179272"/>
            <a:chOff x="0" y="0"/>
            <a:chExt cx="740366" cy="179271"/>
          </a:xfrm>
        </p:grpSpPr>
        <p:sp>
          <p:nvSpPr>
            <p:cNvPr id="522" name="Freeform 5"/>
            <p:cNvSpPr/>
            <p:nvPr/>
          </p:nvSpPr>
          <p:spPr>
            <a:xfrm>
              <a:off x="-1" y="37251"/>
              <a:ext cx="142021" cy="142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5311" y="0"/>
                  </a:lnTo>
                  <a:lnTo>
                    <a:pt x="5311" y="16289"/>
                  </a:lnTo>
                  <a:lnTo>
                    <a:pt x="21600" y="16289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3" name="Freeform 6"/>
            <p:cNvSpPr/>
            <p:nvPr/>
          </p:nvSpPr>
          <p:spPr>
            <a:xfrm>
              <a:off x="34922" y="4656"/>
              <a:ext cx="142021" cy="13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04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289" y="21600"/>
                  </a:lnTo>
                  <a:lnTo>
                    <a:pt x="16289" y="5040"/>
                  </a:lnTo>
                  <a:lnTo>
                    <a:pt x="0" y="504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4" name="Freeform 7"/>
            <p:cNvSpPr/>
            <p:nvPr/>
          </p:nvSpPr>
          <p:spPr>
            <a:xfrm>
              <a:off x="216522" y="4656"/>
              <a:ext cx="81487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0"/>
                  </a:lnTo>
                  <a:lnTo>
                    <a:pt x="17897" y="0"/>
                  </a:lnTo>
                  <a:lnTo>
                    <a:pt x="11109" y="10800"/>
                  </a:lnTo>
                  <a:lnTo>
                    <a:pt x="432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320" y="21600"/>
                  </a:lnTo>
                  <a:lnTo>
                    <a:pt x="4320" y="7425"/>
                  </a:lnTo>
                  <a:lnTo>
                    <a:pt x="9874" y="16200"/>
                  </a:lnTo>
                  <a:lnTo>
                    <a:pt x="12343" y="16200"/>
                  </a:lnTo>
                  <a:lnTo>
                    <a:pt x="17897" y="7425"/>
                  </a:lnTo>
                  <a:lnTo>
                    <a:pt x="17897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5" name="Freeform 8"/>
            <p:cNvSpPr/>
            <p:nvPr/>
          </p:nvSpPr>
          <p:spPr>
            <a:xfrm>
              <a:off x="337588" y="4656"/>
              <a:ext cx="13970" cy="74503"/>
            </a:xfrm>
            <a:prstGeom prst="rect">
              <a:avLst/>
            </a:pr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6" name="Freeform 9"/>
            <p:cNvSpPr/>
            <p:nvPr/>
          </p:nvSpPr>
          <p:spPr>
            <a:xfrm>
              <a:off x="391136" y="4656"/>
              <a:ext cx="72175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14850"/>
                  </a:lnTo>
                  <a:lnTo>
                    <a:pt x="17419" y="14850"/>
                  </a:lnTo>
                  <a:lnTo>
                    <a:pt x="17419" y="17550"/>
                  </a:lnTo>
                  <a:lnTo>
                    <a:pt x="4181" y="17550"/>
                  </a:lnTo>
                  <a:lnTo>
                    <a:pt x="4181" y="4050"/>
                  </a:lnTo>
                  <a:lnTo>
                    <a:pt x="17419" y="4050"/>
                  </a:lnTo>
                  <a:lnTo>
                    <a:pt x="17419" y="6075"/>
                  </a:lnTo>
                  <a:lnTo>
                    <a:pt x="21600" y="6750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0925"/>
                  </a:lnTo>
                  <a:lnTo>
                    <a:pt x="2090" y="21600"/>
                  </a:lnTo>
                  <a:lnTo>
                    <a:pt x="19510" y="21600"/>
                  </a:lnTo>
                  <a:lnTo>
                    <a:pt x="21600" y="20925"/>
                  </a:lnTo>
                  <a:lnTo>
                    <a:pt x="21600" y="19575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7" name="Freeform 10"/>
            <p:cNvSpPr/>
            <p:nvPr/>
          </p:nvSpPr>
          <p:spPr>
            <a:xfrm>
              <a:off x="502890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14850" y="12825"/>
                  </a:lnTo>
                  <a:lnTo>
                    <a:pt x="19575" y="12825"/>
                  </a:lnTo>
                  <a:lnTo>
                    <a:pt x="20925" y="12150"/>
                  </a:lnTo>
                  <a:lnTo>
                    <a:pt x="21600" y="10800"/>
                  </a:lnTo>
                  <a:lnTo>
                    <a:pt x="21600" y="2025"/>
                  </a:lnTo>
                  <a:lnTo>
                    <a:pt x="20925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050" y="21600"/>
                  </a:lnTo>
                  <a:lnTo>
                    <a:pt x="4050" y="12825"/>
                  </a:lnTo>
                  <a:lnTo>
                    <a:pt x="9450" y="12825"/>
                  </a:lnTo>
                  <a:lnTo>
                    <a:pt x="16200" y="21600"/>
                  </a:lnTo>
                  <a:lnTo>
                    <a:pt x="21600" y="21600"/>
                  </a:lnTo>
                  <a:close/>
                  <a:moveTo>
                    <a:pt x="4050" y="4050"/>
                  </a:moveTo>
                  <a:lnTo>
                    <a:pt x="16875" y="4050"/>
                  </a:lnTo>
                  <a:lnTo>
                    <a:pt x="16875" y="8775"/>
                  </a:lnTo>
                  <a:lnTo>
                    <a:pt x="4050" y="8775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8" name="Freeform 11"/>
            <p:cNvSpPr/>
            <p:nvPr/>
          </p:nvSpPr>
          <p:spPr>
            <a:xfrm>
              <a:off x="614643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2025"/>
                  </a:lnTo>
                  <a:lnTo>
                    <a:pt x="20925" y="0"/>
                  </a:lnTo>
                  <a:lnTo>
                    <a:pt x="675" y="0"/>
                  </a:lnTo>
                  <a:lnTo>
                    <a:pt x="0" y="2025"/>
                  </a:lnTo>
                  <a:lnTo>
                    <a:pt x="0" y="19575"/>
                  </a:lnTo>
                  <a:lnTo>
                    <a:pt x="675" y="2092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25"/>
                  </a:lnTo>
                  <a:lnTo>
                    <a:pt x="21600" y="19575"/>
                  </a:lnTo>
                  <a:close/>
                  <a:moveTo>
                    <a:pt x="4050" y="4050"/>
                  </a:moveTo>
                  <a:lnTo>
                    <a:pt x="17550" y="4050"/>
                  </a:lnTo>
                  <a:lnTo>
                    <a:pt x="17550" y="17550"/>
                  </a:lnTo>
                  <a:lnTo>
                    <a:pt x="4050" y="17550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29" name="Freeform 12"/>
            <p:cNvSpPr/>
            <p:nvPr/>
          </p:nvSpPr>
          <p:spPr>
            <a:xfrm>
              <a:off x="216522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582"/>
                  </a:move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725" y="21600"/>
                  </a:lnTo>
                  <a:lnTo>
                    <a:pt x="4725" y="13091"/>
                  </a:lnTo>
                  <a:lnTo>
                    <a:pt x="17550" y="13091"/>
                  </a:lnTo>
                  <a:lnTo>
                    <a:pt x="17550" y="8509"/>
                  </a:lnTo>
                  <a:lnTo>
                    <a:pt x="4725" y="8509"/>
                  </a:lnTo>
                  <a:lnTo>
                    <a:pt x="4725" y="4582"/>
                  </a:lnTo>
                  <a:lnTo>
                    <a:pt x="2160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30" name="Freeform 13"/>
            <p:cNvSpPr/>
            <p:nvPr/>
          </p:nvSpPr>
          <p:spPr>
            <a:xfrm>
              <a:off x="311978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  <a:moveTo>
                    <a:pt x="4050" y="4582"/>
                  </a:moveTo>
                  <a:lnTo>
                    <a:pt x="17550" y="4582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31" name="Freeform 14"/>
            <p:cNvSpPr/>
            <p:nvPr/>
          </p:nvSpPr>
          <p:spPr>
            <a:xfrm>
              <a:off x="412090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4400"/>
                  </a:lnTo>
                  <a:lnTo>
                    <a:pt x="17550" y="15055"/>
                  </a:lnTo>
                  <a:lnTo>
                    <a:pt x="17550" y="17018"/>
                  </a:lnTo>
                  <a:lnTo>
                    <a:pt x="4725" y="17018"/>
                  </a:lnTo>
                  <a:lnTo>
                    <a:pt x="4725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700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700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32" name="Freeform 15"/>
            <p:cNvSpPr/>
            <p:nvPr/>
          </p:nvSpPr>
          <p:spPr>
            <a:xfrm>
              <a:off x="514531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0"/>
                  </a:lnTo>
                  <a:lnTo>
                    <a:pt x="16875" y="0"/>
                  </a:lnTo>
                  <a:lnTo>
                    <a:pt x="16875" y="17018"/>
                  </a:lnTo>
                  <a:lnTo>
                    <a:pt x="4050" y="17018"/>
                  </a:lnTo>
                  <a:lnTo>
                    <a:pt x="4050" y="0"/>
                  </a:lnTo>
                  <a:lnTo>
                    <a:pt x="0" y="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8900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33" name="Freeform 16"/>
            <p:cNvSpPr/>
            <p:nvPr/>
          </p:nvSpPr>
          <p:spPr>
            <a:xfrm>
              <a:off x="614643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1127"/>
                  </a:lnTo>
                  <a:lnTo>
                    <a:pt x="20925" y="9164"/>
                  </a:lnTo>
                  <a:lnTo>
                    <a:pt x="19575" y="8509"/>
                  </a:lnTo>
                  <a:lnTo>
                    <a:pt x="4050" y="8509"/>
                  </a:lnTo>
                  <a:lnTo>
                    <a:pt x="4050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0473"/>
                  </a:lnTo>
                  <a:lnTo>
                    <a:pt x="675" y="12436"/>
                  </a:lnTo>
                  <a:lnTo>
                    <a:pt x="2025" y="13091"/>
                  </a:lnTo>
                  <a:lnTo>
                    <a:pt x="17550" y="13091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15055"/>
                  </a:lnTo>
                  <a:lnTo>
                    <a:pt x="0" y="1440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34" name="Freeform 17"/>
            <p:cNvSpPr/>
            <p:nvPr/>
          </p:nvSpPr>
          <p:spPr>
            <a:xfrm>
              <a:off x="707771" y="-1"/>
              <a:ext cx="32596" cy="325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lnTo>
                    <a:pt x="6171" y="20057"/>
                  </a:lnTo>
                  <a:lnTo>
                    <a:pt x="3086" y="18514"/>
                  </a:lnTo>
                  <a:lnTo>
                    <a:pt x="0" y="13886"/>
                  </a:lnTo>
                  <a:lnTo>
                    <a:pt x="0" y="6171"/>
                  </a:lnTo>
                  <a:lnTo>
                    <a:pt x="6171" y="0"/>
                  </a:lnTo>
                  <a:lnTo>
                    <a:pt x="13886" y="0"/>
                  </a:lnTo>
                  <a:lnTo>
                    <a:pt x="18514" y="3086"/>
                  </a:lnTo>
                  <a:lnTo>
                    <a:pt x="20057" y="6171"/>
                  </a:lnTo>
                  <a:lnTo>
                    <a:pt x="21600" y="10800"/>
                  </a:lnTo>
                  <a:lnTo>
                    <a:pt x="20057" y="13886"/>
                  </a:lnTo>
                  <a:lnTo>
                    <a:pt x="18514" y="18514"/>
                  </a:lnTo>
                  <a:lnTo>
                    <a:pt x="13886" y="20057"/>
                  </a:lnTo>
                  <a:lnTo>
                    <a:pt x="10800" y="21600"/>
                  </a:lnTo>
                  <a:close/>
                  <a:moveTo>
                    <a:pt x="10800" y="0"/>
                  </a:moveTo>
                  <a:lnTo>
                    <a:pt x="6171" y="1543"/>
                  </a:lnTo>
                  <a:lnTo>
                    <a:pt x="3086" y="3086"/>
                  </a:lnTo>
                  <a:lnTo>
                    <a:pt x="1543" y="6171"/>
                  </a:lnTo>
                  <a:lnTo>
                    <a:pt x="0" y="10800"/>
                  </a:lnTo>
                  <a:lnTo>
                    <a:pt x="3086" y="16971"/>
                  </a:lnTo>
                  <a:lnTo>
                    <a:pt x="6171" y="18514"/>
                  </a:lnTo>
                  <a:lnTo>
                    <a:pt x="10800" y="20057"/>
                  </a:lnTo>
                  <a:lnTo>
                    <a:pt x="16971" y="16971"/>
                  </a:lnTo>
                  <a:lnTo>
                    <a:pt x="20057" y="10800"/>
                  </a:lnTo>
                  <a:lnTo>
                    <a:pt x="18514" y="6171"/>
                  </a:lnTo>
                  <a:lnTo>
                    <a:pt x="16971" y="3086"/>
                  </a:lnTo>
                  <a:lnTo>
                    <a:pt x="10800" y="0"/>
                  </a:lnTo>
                  <a:close/>
                  <a:moveTo>
                    <a:pt x="12343" y="16971"/>
                  </a:moveTo>
                  <a:lnTo>
                    <a:pt x="10800" y="10800"/>
                  </a:lnTo>
                  <a:lnTo>
                    <a:pt x="7714" y="10800"/>
                  </a:lnTo>
                  <a:lnTo>
                    <a:pt x="7714" y="16971"/>
                  </a:lnTo>
                  <a:lnTo>
                    <a:pt x="6171" y="16971"/>
                  </a:lnTo>
                  <a:lnTo>
                    <a:pt x="6171" y="3086"/>
                  </a:lnTo>
                  <a:lnTo>
                    <a:pt x="10800" y="3086"/>
                  </a:lnTo>
                  <a:lnTo>
                    <a:pt x="13886" y="4629"/>
                  </a:lnTo>
                  <a:lnTo>
                    <a:pt x="13886" y="9257"/>
                  </a:lnTo>
                  <a:lnTo>
                    <a:pt x="12343" y="10800"/>
                  </a:lnTo>
                  <a:lnTo>
                    <a:pt x="13886" y="16971"/>
                  </a:lnTo>
                  <a:lnTo>
                    <a:pt x="12343" y="16971"/>
                  </a:lnTo>
                  <a:close/>
                  <a:moveTo>
                    <a:pt x="7714" y="9257"/>
                  </a:moveTo>
                  <a:lnTo>
                    <a:pt x="12343" y="9257"/>
                  </a:lnTo>
                  <a:lnTo>
                    <a:pt x="12343" y="6171"/>
                  </a:lnTo>
                  <a:lnTo>
                    <a:pt x="9257" y="4629"/>
                  </a:lnTo>
                  <a:lnTo>
                    <a:pt x="7714" y="4629"/>
                  </a:lnTo>
                  <a:lnTo>
                    <a:pt x="7714" y="9257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</p:grpSp>
      <p:sp>
        <p:nvSpPr>
          <p:cNvPr id="536" name="Rectangle 51"/>
          <p:cNvSpPr/>
          <p:nvPr/>
        </p:nvSpPr>
        <p:spPr>
          <a:xfrm>
            <a:off x="1048005" y="0"/>
            <a:ext cx="1799696" cy="151844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5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2" y="6403998"/>
            <a:ext cx="259043" cy="2616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C84D205-261D-4C5B-9652-CCAC3F23D0BE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355072"/>
      </p:ext>
    </p:extLst>
  </p:cSld>
  <p:clrMapOvr>
    <a:masterClrMapping/>
  </p:clrMapOvr>
  <p:transition spd="med"/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gratul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p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ongratulations!</a:t>
            </a:r>
          </a:p>
        </p:txBody>
      </p:sp>
    </p:spTree>
    <p:extLst>
      <p:ext uri="{BB962C8B-B14F-4D97-AF65-F5344CB8AC3E}">
        <p14:creationId xmlns:p14="http://schemas.microsoft.com/office/powerpoint/2010/main" val="26046761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31445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 marL="225425" indent="-225425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 marL="225425" indent="-225425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wo Columns</a:t>
            </a:r>
          </a:p>
        </p:txBody>
      </p:sp>
    </p:spTree>
    <p:extLst>
      <p:ext uri="{BB962C8B-B14F-4D97-AF65-F5344CB8AC3E}">
        <p14:creationId xmlns:p14="http://schemas.microsoft.com/office/powerpoint/2010/main" val="123729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202414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55810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608740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33807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701907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83869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305228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849743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5556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7307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63775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95185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83579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623607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7227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619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4663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626786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126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441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567610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039639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27349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80674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79644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66817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678205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392122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8726705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86380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672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34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503753"/>
      </p:ext>
    </p:extLst>
  </p:cSld>
  <p:clrMapOvr>
    <a:masterClrMapping/>
  </p:clrMapOvr>
  <p:hf hdr="0" ftr="0" dt="0"/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267073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338562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95693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394659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033970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753112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81037928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98427906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68230439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00450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112168"/>
      </p:ext>
    </p:extLst>
  </p:cSld>
  <p:clrMapOvr>
    <a:masterClrMapping/>
  </p:clrMapOvr>
  <p:hf hdr="0" ftr="0" dt="0"/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71679422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58548447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14553499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294046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560415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534267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593122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520282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829148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785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5020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534835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5076664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61311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776827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824388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023122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348348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241874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36150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9358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191732"/>
      </p:ext>
    </p:extLst>
  </p:cSld>
  <p:clrMapOvr>
    <a:masterClrMapping/>
  </p:clrMapOvr>
  <p:hf hdr="0" ftr="0" dt="0"/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252048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940035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232296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454637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007832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8637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48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076931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116815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838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396599"/>
      </p:ext>
    </p:extLst>
  </p:cSld>
  <p:clrMapOvr>
    <a:masterClrMapping/>
  </p:clrMapOvr>
  <p:hf hdr="0" ftr="0" dt="0"/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086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889579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120573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691678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854756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199944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664518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91139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4332574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0368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2307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536173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816255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865612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585983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380055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481110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03923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67375268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21339257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945557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3577683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11995637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48497891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68181537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62818487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242809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838072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626599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65602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3000">
              <a:srgbClr val="B81592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089003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8924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62405"/>
      </p:ext>
    </p:extLst>
  </p:cSld>
  <p:clrMapOvr>
    <a:masterClrMapping/>
  </p:clrMapOvr>
  <p:hf hdr="0" ftr="0" dt="0"/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634807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023520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8781289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47235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881047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ue Title Slide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16507"/>
            <a:ext cx="10579608" cy="164592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370403"/>
            <a:ext cx="10579608" cy="86186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4400" y="5257800"/>
            <a:ext cx="4270248" cy="859536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00041" indent="0">
              <a:buNone/>
              <a:defRPr>
                <a:solidFill>
                  <a:schemeClr val="bg1"/>
                </a:solidFill>
              </a:defRPr>
            </a:lvl3pPr>
            <a:lvl4pPr marL="571486" indent="0">
              <a:buNone/>
              <a:defRPr>
                <a:solidFill>
                  <a:schemeClr val="bg1"/>
                </a:solidFill>
              </a:defRPr>
            </a:lvl4pPr>
            <a:lvl5pPr marL="7429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6177889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198623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2530150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301387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9784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6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6" y="2043606"/>
            <a:ext cx="10311765" cy="4133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2713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7013626"/>
      </p:ext>
    </p:extLst>
  </p:cSld>
  <p:clrMapOvr>
    <a:masterClrMapping/>
  </p:clrMapOvr>
  <p:hf hdr="0" ftr="0" dt="0"/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151" y="2497874"/>
            <a:ext cx="10312400" cy="3679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46151" y="1993266"/>
            <a:ext cx="10312400" cy="384175"/>
          </a:xfrm>
        </p:spPr>
        <p:txBody>
          <a:bodyPr/>
          <a:lstStyle>
            <a:lvl1pPr marL="0" indent="0">
              <a:buNone/>
              <a:defRPr b="1"/>
            </a:lvl1pPr>
            <a:lvl2pPr marL="228594" indent="0">
              <a:buNone/>
              <a:defRPr b="1"/>
            </a:lvl2pPr>
            <a:lvl3pPr marL="400041" indent="0">
              <a:buNone/>
              <a:defRPr b="1"/>
            </a:lvl3pPr>
            <a:lvl4pPr marL="571486" indent="0">
              <a:buNone/>
              <a:defRPr b="1"/>
            </a:lvl4pPr>
            <a:lvl5pPr marL="742932" indent="0">
              <a:buNone/>
              <a:defRPr b="1"/>
            </a:lvl5pPr>
          </a:lstStyle>
          <a:p>
            <a:pPr lvl="0"/>
            <a:r>
              <a:rPr lang="en-US"/>
              <a:t>Click to edit Heading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276422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428492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299178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144901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702014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860982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080479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021906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" y="2"/>
            <a:ext cx="8547101" cy="685800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0787351" y="282498"/>
            <a:ext cx="1122152" cy="1122154"/>
          </a:xfrm>
          <a:custGeom>
            <a:avLst/>
            <a:gdLst>
              <a:gd name="T0" fmla="*/ 0 w 122"/>
              <a:gd name="T1" fmla="*/ 122 h 122"/>
              <a:gd name="T2" fmla="*/ 0 w 122"/>
              <a:gd name="T3" fmla="*/ 0 h 122"/>
              <a:gd name="T4" fmla="*/ 30 w 122"/>
              <a:gd name="T5" fmla="*/ 0 h 122"/>
              <a:gd name="T6" fmla="*/ 30 w 122"/>
              <a:gd name="T7" fmla="*/ 92 h 122"/>
              <a:gd name="T8" fmla="*/ 122 w 122"/>
              <a:gd name="T9" fmla="*/ 92 h 122"/>
              <a:gd name="T10" fmla="*/ 122 w 122"/>
              <a:gd name="T11" fmla="*/ 122 h 122"/>
              <a:gd name="T12" fmla="*/ 0 w 122"/>
              <a:gd name="T13" fmla="*/ 122 h 122"/>
              <a:gd name="T14" fmla="*/ 0 w 122"/>
              <a:gd name="T15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2">
                <a:moveTo>
                  <a:pt x="0" y="122"/>
                </a:moveTo>
                <a:lnTo>
                  <a:pt x="0" y="0"/>
                </a:lnTo>
                <a:lnTo>
                  <a:pt x="30" y="0"/>
                </a:lnTo>
                <a:lnTo>
                  <a:pt x="30" y="92"/>
                </a:lnTo>
                <a:lnTo>
                  <a:pt x="122" y="92"/>
                </a:lnTo>
                <a:lnTo>
                  <a:pt x="122" y="122"/>
                </a:lnTo>
                <a:lnTo>
                  <a:pt x="0" y="122"/>
                </a:lnTo>
                <a:lnTo>
                  <a:pt x="0" y="122"/>
                </a:lnTo>
                <a:close/>
              </a:path>
            </a:pathLst>
          </a:custGeom>
          <a:solidFill>
            <a:schemeClr val="tx1">
              <a:lumMod val="10000"/>
              <a:lumOff val="90000"/>
              <a:alpha val="7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9938460" y="1127366"/>
            <a:ext cx="1122152" cy="1103756"/>
          </a:xfrm>
          <a:custGeom>
            <a:avLst/>
            <a:gdLst>
              <a:gd name="T0" fmla="*/ 0 w 122"/>
              <a:gd name="T1" fmla="*/ 28 h 120"/>
              <a:gd name="T2" fmla="*/ 0 w 122"/>
              <a:gd name="T3" fmla="*/ 0 h 120"/>
              <a:gd name="T4" fmla="*/ 122 w 122"/>
              <a:gd name="T5" fmla="*/ 0 h 120"/>
              <a:gd name="T6" fmla="*/ 122 w 122"/>
              <a:gd name="T7" fmla="*/ 120 h 120"/>
              <a:gd name="T8" fmla="*/ 92 w 122"/>
              <a:gd name="T9" fmla="*/ 120 h 120"/>
              <a:gd name="T10" fmla="*/ 92 w 122"/>
              <a:gd name="T11" fmla="*/ 28 h 120"/>
              <a:gd name="T12" fmla="*/ 0 w 122"/>
              <a:gd name="T13" fmla="*/ 28 h 120"/>
              <a:gd name="T14" fmla="*/ 0 w 122"/>
              <a:gd name="T15" fmla="*/ 2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20">
                <a:moveTo>
                  <a:pt x="0" y="28"/>
                </a:moveTo>
                <a:lnTo>
                  <a:pt x="0" y="0"/>
                </a:lnTo>
                <a:lnTo>
                  <a:pt x="122" y="0"/>
                </a:lnTo>
                <a:lnTo>
                  <a:pt x="122" y="120"/>
                </a:lnTo>
                <a:lnTo>
                  <a:pt x="92" y="120"/>
                </a:lnTo>
                <a:lnTo>
                  <a:pt x="92" y="28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080267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8626"/>
            <a:ext cx="10314432" cy="9784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5" y="1828800"/>
            <a:ext cx="508116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50976" y="2447925"/>
            <a:ext cx="508497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28800"/>
            <a:ext cx="508635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447925"/>
            <a:ext cx="508635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5370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996093"/>
      </p:ext>
    </p:extLst>
  </p:cSld>
  <p:clrMapOvr>
    <a:masterClrMapping/>
  </p:clrMapOvr>
  <p:hf hdr="0" ftr="0" dt="0"/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0976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9350" y="1825625"/>
            <a:ext cx="5029200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617652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5" y="1825625"/>
            <a:ext cx="3229804" cy="43513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200197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047750" y="1825628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404101" y="1827243"/>
            <a:ext cx="3854450" cy="4242816"/>
          </a:xfrm>
        </p:spPr>
        <p:txBody>
          <a:bodyPr/>
          <a:lstStyle>
            <a:lvl1pPr>
              <a:spcAft>
                <a:spcPts val="600"/>
              </a:spcAft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110993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825628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46786" y="1828800"/>
            <a:ext cx="3955414" cy="4242816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376927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7424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0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137424" cy="200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5404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876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42588299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662406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708661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98525479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err="1"/>
              <a:t>www.microfocus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38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52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183483"/>
      </p:ext>
    </p:extLst>
  </p:cSld>
  <p:clrMapOvr>
    <a:masterClrMapping/>
  </p:clrMapOvr>
  <p:hf hdr="0" ftr="0" dt="0"/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95" b="3204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48451" y="2517680"/>
            <a:ext cx="10314432" cy="1964978"/>
          </a:xfrm>
        </p:spPr>
        <p:txBody>
          <a:bodyPr anchor="t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212E35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92277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298175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Title Slide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16507"/>
            <a:ext cx="10579608" cy="164592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370403"/>
            <a:ext cx="10579608" cy="86186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0538" y="5279566"/>
            <a:ext cx="4007404" cy="83631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00041" indent="0">
              <a:buNone/>
              <a:defRPr>
                <a:solidFill>
                  <a:schemeClr val="bg1"/>
                </a:solidFill>
              </a:defRPr>
            </a:lvl3pPr>
            <a:lvl4pPr marL="571486" indent="0">
              <a:buNone/>
              <a:defRPr>
                <a:solidFill>
                  <a:schemeClr val="bg1"/>
                </a:solidFill>
              </a:defRPr>
            </a:lvl4pPr>
            <a:lvl5pPr marL="7429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960934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284802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2"/>
            <a:ext cx="12191996" cy="685799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04111270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348493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107622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46786" y="967383"/>
            <a:ext cx="10311765" cy="538112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46786" y="2043606"/>
            <a:ext cx="10311765" cy="413335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4007171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151" y="2497874"/>
            <a:ext cx="10312400" cy="367908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46151" y="1993266"/>
            <a:ext cx="10312400" cy="384175"/>
          </a:xfrm>
        </p:spPr>
        <p:txBody>
          <a:bodyPr/>
          <a:lstStyle>
            <a:lvl1pPr marL="0" indent="0">
              <a:buNone/>
              <a:defRPr b="1"/>
            </a:lvl1pPr>
            <a:lvl2pPr marL="228594" indent="0">
              <a:buNone/>
              <a:defRPr b="1"/>
            </a:lvl2pPr>
            <a:lvl3pPr marL="400041" indent="0">
              <a:buNone/>
              <a:defRPr b="1"/>
            </a:lvl3pPr>
            <a:lvl4pPr marL="571486" indent="0">
              <a:buNone/>
              <a:defRPr b="1"/>
            </a:lvl4pPr>
            <a:lvl5pPr marL="742932" indent="0">
              <a:buNone/>
              <a:defRPr b="1"/>
            </a:lvl5pPr>
          </a:lstStyle>
          <a:p>
            <a:pPr lvl="0"/>
            <a:r>
              <a:rPr lang="en-US" dirty="0"/>
              <a:t>Click to edit Heading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606283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tx2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838542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accent1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8632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396138"/>
      </p:ext>
    </p:extLst>
  </p:cSld>
  <p:clrMapOvr>
    <a:masterClrMapping/>
  </p:clrMapOvr>
  <p:hf hdr="0" ftr="0" dt="0"/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0353499" y="5021880"/>
            <a:ext cx="1940100" cy="1940061"/>
            <a:chOff x="9313687" y="3627192"/>
            <a:chExt cx="1940100" cy="1940062"/>
          </a:xfrm>
          <a:solidFill>
            <a:schemeClr val="accent1"/>
          </a:solidFill>
        </p:grpSpPr>
        <p:sp>
          <p:nvSpPr>
            <p:cNvPr id="12" name="Oval 11"/>
            <p:cNvSpPr/>
            <p:nvPr/>
          </p:nvSpPr>
          <p:spPr>
            <a:xfrm>
              <a:off x="10188575" y="4492625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0617200" y="4492625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0617200" y="4064000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0626726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0193338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9759950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Pie 17"/>
            <p:cNvSpPr/>
            <p:nvPr/>
          </p:nvSpPr>
          <p:spPr>
            <a:xfrm rot="5400000">
              <a:off x="9750425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Pie 18"/>
            <p:cNvSpPr/>
            <p:nvPr/>
          </p:nvSpPr>
          <p:spPr>
            <a:xfrm rot="5400000">
              <a:off x="10174113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Pie 19"/>
            <p:cNvSpPr/>
            <p:nvPr/>
          </p:nvSpPr>
          <p:spPr>
            <a:xfrm rot="5400000">
              <a:off x="10607676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Pie 20"/>
            <p:cNvSpPr/>
            <p:nvPr/>
          </p:nvSpPr>
          <p:spPr>
            <a:xfrm rot="5400000">
              <a:off x="11060113" y="5373580"/>
              <a:ext cx="193674" cy="193674"/>
            </a:xfrm>
            <a:prstGeom prst="pie">
              <a:avLst>
                <a:gd name="adj1" fmla="val 5400000"/>
                <a:gd name="adj2" fmla="val 1075087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Pie 21"/>
            <p:cNvSpPr/>
            <p:nvPr/>
          </p:nvSpPr>
          <p:spPr>
            <a:xfrm rot="5400000">
              <a:off x="9313687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3" name="Pie 22"/>
            <p:cNvSpPr/>
            <p:nvPr/>
          </p:nvSpPr>
          <p:spPr>
            <a:xfrm>
              <a:off x="11060113" y="4484443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4" name="Pie 23"/>
            <p:cNvSpPr/>
            <p:nvPr/>
          </p:nvSpPr>
          <p:spPr>
            <a:xfrm>
              <a:off x="11060113" y="4060755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5" name="Pie 24"/>
            <p:cNvSpPr/>
            <p:nvPr/>
          </p:nvSpPr>
          <p:spPr>
            <a:xfrm>
              <a:off x="11060113" y="3627192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6" name="Pie 25"/>
            <p:cNvSpPr/>
            <p:nvPr/>
          </p:nvSpPr>
          <p:spPr>
            <a:xfrm>
              <a:off x="11060113" y="4921181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698833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accent2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90102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D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accent3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593668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Aquamar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accent6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622782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106149" y="6272213"/>
            <a:ext cx="1085851" cy="585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1" y="2"/>
            <a:ext cx="12293599" cy="6961943"/>
            <a:chOff x="0" y="0"/>
            <a:chExt cx="12293598" cy="6961943"/>
          </a:xfrm>
          <a:solidFill>
            <a:schemeClr val="accent6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4733925"/>
            <a:ext cx="7897815" cy="147178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506426" y="5418152"/>
            <a:ext cx="1115449" cy="102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153096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85" y="428626"/>
            <a:ext cx="10408603" cy="1262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5" y="1828800"/>
            <a:ext cx="508116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2974" y="2447925"/>
            <a:ext cx="508497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28800"/>
            <a:ext cx="5086351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447925"/>
            <a:ext cx="5086351" cy="37417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344353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2974" y="1825625"/>
            <a:ext cx="5084971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7391" y="1825625"/>
            <a:ext cx="5081159" cy="43513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337156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6785" y="1825625"/>
            <a:ext cx="3268376" cy="4351339"/>
          </a:xfrm>
        </p:spPr>
        <p:txBody>
          <a:bodyPr/>
          <a:lstStyle>
            <a:lvl1pPr marL="228594" indent="-228594"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427035" y="1825625"/>
            <a:ext cx="3229804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7868712" y="1825625"/>
            <a:ext cx="3367536" cy="435133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234116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047750" y="1825628"/>
            <a:ext cx="6145191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400926" y="1816101"/>
            <a:ext cx="3857625" cy="4238625"/>
          </a:xfrm>
        </p:spPr>
        <p:txBody>
          <a:bodyPr/>
          <a:lstStyle>
            <a:lvl1pPr marL="0" indent="0">
              <a:buNone/>
              <a:defRPr/>
            </a:lvl1pPr>
            <a:lvl2pPr marL="285744" indent="0">
              <a:buNone/>
              <a:defRPr/>
            </a:lvl2pPr>
            <a:lvl3pPr marL="577836" indent="0">
              <a:buNone/>
              <a:defRPr/>
            </a:lvl3pPr>
            <a:lvl4pPr marL="742932" indent="0">
              <a:buNone/>
              <a:defRPr/>
            </a:lvl4pPr>
            <a:lvl5pPr marL="91437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659198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266986" y="1825628"/>
            <a:ext cx="4991565" cy="4226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46785" y="1825628"/>
            <a:ext cx="5063723" cy="4238625"/>
          </a:xfrm>
        </p:spPr>
        <p:txBody>
          <a:bodyPr/>
          <a:lstStyle>
            <a:lvl1pPr marL="0" indent="0">
              <a:buNone/>
              <a:defRPr/>
            </a:lvl1pPr>
            <a:lvl2pPr marL="285744" indent="0">
              <a:buNone/>
              <a:defRPr/>
            </a:lvl2pPr>
            <a:lvl3pPr marL="577836" indent="0">
              <a:buNone/>
              <a:defRPr/>
            </a:lvl3pPr>
            <a:lvl4pPr marL="742932" indent="0">
              <a:buNone/>
              <a:defRPr/>
            </a:lvl4pPr>
            <a:lvl5pPr marL="91437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7055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603079"/>
      </p:ext>
    </p:extLst>
  </p:cSld>
  <p:clrMapOvr>
    <a:masterClrMapping/>
  </p:clrMapOvr>
  <p:hf hdr="0" ftr="0" dt="0"/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7424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0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137424" cy="200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823512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876" y="1951465"/>
            <a:ext cx="4383499" cy="39363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1" cy="6958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009383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644529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640988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138019961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8006" y="1"/>
            <a:ext cx="1799697" cy="151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48006" y="766395"/>
            <a:ext cx="1930327" cy="467407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614237"/>
            <a:ext cx="10579608" cy="1645920"/>
          </a:xfrm>
        </p:spPr>
        <p:txBody>
          <a:bodyPr anchor="t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5260158"/>
            <a:ext cx="4270248" cy="86186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microfocu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41805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solidFill>
              <a:srgbClr val="019E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8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sz="240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424" y="5157191"/>
            <a:ext cx="4267200" cy="1219200"/>
          </a:xfrm>
        </p:spPr>
        <p:txBody>
          <a:bodyPr>
            <a:noAutofit/>
          </a:bodyPr>
          <a:lstStyle>
            <a:lvl1pPr marL="0" indent="0" algn="l">
              <a:buNone/>
              <a:defRPr sz="18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 9"/>
          <p:cNvSpPr>
            <a:spLocks noGrp="1"/>
          </p:cNvSpPr>
          <p:nvPr>
            <p:ph type="title"/>
          </p:nvPr>
        </p:nvSpPr>
        <p:spPr>
          <a:xfrm>
            <a:off x="911424" y="2276872"/>
            <a:ext cx="10574965" cy="2304256"/>
          </a:xfrm>
        </p:spPr>
        <p:txBody>
          <a:bodyPr anchor="t">
            <a:normAutofit/>
          </a:bodyPr>
          <a:lstStyle>
            <a:lvl1pPr algn="l">
              <a:defRPr sz="5067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62377" y="1001025"/>
            <a:ext cx="731520" cy="73152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10003445" y="5793720"/>
            <a:ext cx="1578956" cy="37848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2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8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9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0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1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2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3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4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5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6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7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38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77"/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1411488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ntent w Separate Subhea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7" name="Picture 6" descr="Picture 6"/>
          <p:cNvPicPr>
            <a:picLocks noChangeAspect="1"/>
          </p:cNvPicPr>
          <p:nvPr/>
        </p:nvPicPr>
        <p:blipFill>
          <a:blip r:embed="rId2">
            <a:alphaModFix amt="28000"/>
          </a:blip>
          <a:srcRect r="224" b="416"/>
          <a:stretch>
            <a:fillRect/>
          </a:stretch>
        </p:blipFill>
        <p:spPr>
          <a:xfrm rot="10800000">
            <a:off x="-25399" y="-1"/>
            <a:ext cx="12217401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518" name="Rectangle 7"/>
          <p:cNvSpPr/>
          <p:nvPr/>
        </p:nvSpPr>
        <p:spPr>
          <a:xfrm>
            <a:off x="-25400" y="-1"/>
            <a:ext cx="12217400" cy="6858001"/>
          </a:xfrm>
          <a:prstGeom prst="rect">
            <a:avLst/>
          </a:prstGeom>
          <a:gradFill>
            <a:gsLst>
              <a:gs pos="42000">
                <a:srgbClr val="FFFFFF">
                  <a:alpha val="98000"/>
                </a:srgbClr>
              </a:gs>
              <a:gs pos="84000">
                <a:srgbClr val="FFFFFF">
                  <a:alpha val="43000"/>
                </a:srgbClr>
              </a:gs>
            </a:gsLst>
            <a:lin ang="2639999"/>
          </a:gradFill>
          <a:ln w="12700">
            <a:miter lim="400000"/>
          </a:ln>
        </p:spPr>
        <p:txBody>
          <a:bodyPr lIns="45719" rIns="45719" anchor="ctr"/>
          <a:lstStyle/>
          <a:p>
            <a:pPr algn="ctr" defTabSz="914377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519" name="Title Text"/>
          <p:cNvSpPr txBox="1">
            <a:spLocks noGrp="1"/>
          </p:cNvSpPr>
          <p:nvPr>
            <p:ph type="title"/>
          </p:nvPr>
        </p:nvSpPr>
        <p:spPr>
          <a:xfrm>
            <a:off x="946786" y="429274"/>
            <a:ext cx="10311767" cy="107622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1633" y="6388610"/>
            <a:ext cx="296233" cy="29238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2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46786" y="967385"/>
            <a:ext cx="10311767" cy="538113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</a:lvl1pPr>
            <a:lvl2pPr marL="0" indent="0"/>
            <a:lvl3pPr marL="0" indent="0"/>
            <a:lvl4pPr marL="0" indent="0"/>
            <a:lvl5pPr marL="0" indent="0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grpSp>
        <p:nvGrpSpPr>
          <p:cNvPr id="535" name="Group 37"/>
          <p:cNvGrpSpPr/>
          <p:nvPr/>
        </p:nvGrpSpPr>
        <p:grpSpPr>
          <a:xfrm>
            <a:off x="11311011" y="6527385"/>
            <a:ext cx="740367" cy="179272"/>
            <a:chOff x="0" y="0"/>
            <a:chExt cx="740366" cy="179271"/>
          </a:xfrm>
        </p:grpSpPr>
        <p:sp>
          <p:nvSpPr>
            <p:cNvPr id="522" name="Freeform 5"/>
            <p:cNvSpPr/>
            <p:nvPr/>
          </p:nvSpPr>
          <p:spPr>
            <a:xfrm>
              <a:off x="-1" y="37251"/>
              <a:ext cx="142021" cy="142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5311" y="0"/>
                  </a:lnTo>
                  <a:lnTo>
                    <a:pt x="5311" y="16289"/>
                  </a:lnTo>
                  <a:lnTo>
                    <a:pt x="21600" y="16289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3" name="Freeform 6"/>
            <p:cNvSpPr/>
            <p:nvPr/>
          </p:nvSpPr>
          <p:spPr>
            <a:xfrm>
              <a:off x="34922" y="4656"/>
              <a:ext cx="142021" cy="13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04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289" y="21600"/>
                  </a:lnTo>
                  <a:lnTo>
                    <a:pt x="16289" y="5040"/>
                  </a:lnTo>
                  <a:lnTo>
                    <a:pt x="0" y="504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4" name="Freeform 7"/>
            <p:cNvSpPr/>
            <p:nvPr/>
          </p:nvSpPr>
          <p:spPr>
            <a:xfrm>
              <a:off x="216522" y="4656"/>
              <a:ext cx="81487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0"/>
                  </a:lnTo>
                  <a:lnTo>
                    <a:pt x="17897" y="0"/>
                  </a:lnTo>
                  <a:lnTo>
                    <a:pt x="11109" y="10800"/>
                  </a:lnTo>
                  <a:lnTo>
                    <a:pt x="432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320" y="21600"/>
                  </a:lnTo>
                  <a:lnTo>
                    <a:pt x="4320" y="7425"/>
                  </a:lnTo>
                  <a:lnTo>
                    <a:pt x="9874" y="16200"/>
                  </a:lnTo>
                  <a:lnTo>
                    <a:pt x="12343" y="16200"/>
                  </a:lnTo>
                  <a:lnTo>
                    <a:pt x="17897" y="7425"/>
                  </a:lnTo>
                  <a:lnTo>
                    <a:pt x="17897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5" name="Freeform 8"/>
            <p:cNvSpPr/>
            <p:nvPr/>
          </p:nvSpPr>
          <p:spPr>
            <a:xfrm>
              <a:off x="337588" y="4656"/>
              <a:ext cx="13970" cy="74503"/>
            </a:xfrm>
            <a:prstGeom prst="rect">
              <a:avLst/>
            </a:pr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6" name="Freeform 9"/>
            <p:cNvSpPr/>
            <p:nvPr/>
          </p:nvSpPr>
          <p:spPr>
            <a:xfrm>
              <a:off x="391136" y="4656"/>
              <a:ext cx="72175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14850"/>
                  </a:lnTo>
                  <a:lnTo>
                    <a:pt x="17419" y="14850"/>
                  </a:lnTo>
                  <a:lnTo>
                    <a:pt x="17419" y="17550"/>
                  </a:lnTo>
                  <a:lnTo>
                    <a:pt x="4181" y="17550"/>
                  </a:lnTo>
                  <a:lnTo>
                    <a:pt x="4181" y="4050"/>
                  </a:lnTo>
                  <a:lnTo>
                    <a:pt x="17419" y="4050"/>
                  </a:lnTo>
                  <a:lnTo>
                    <a:pt x="17419" y="6075"/>
                  </a:lnTo>
                  <a:lnTo>
                    <a:pt x="21600" y="6750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0925"/>
                  </a:lnTo>
                  <a:lnTo>
                    <a:pt x="2090" y="21600"/>
                  </a:lnTo>
                  <a:lnTo>
                    <a:pt x="19510" y="21600"/>
                  </a:lnTo>
                  <a:lnTo>
                    <a:pt x="21600" y="20925"/>
                  </a:lnTo>
                  <a:lnTo>
                    <a:pt x="21600" y="19575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7" name="Freeform 10"/>
            <p:cNvSpPr/>
            <p:nvPr/>
          </p:nvSpPr>
          <p:spPr>
            <a:xfrm>
              <a:off x="502890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14850" y="12825"/>
                  </a:lnTo>
                  <a:lnTo>
                    <a:pt x="19575" y="12825"/>
                  </a:lnTo>
                  <a:lnTo>
                    <a:pt x="20925" y="12150"/>
                  </a:lnTo>
                  <a:lnTo>
                    <a:pt x="21600" y="10800"/>
                  </a:lnTo>
                  <a:lnTo>
                    <a:pt x="21600" y="2025"/>
                  </a:lnTo>
                  <a:lnTo>
                    <a:pt x="20925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050" y="21600"/>
                  </a:lnTo>
                  <a:lnTo>
                    <a:pt x="4050" y="12825"/>
                  </a:lnTo>
                  <a:lnTo>
                    <a:pt x="9450" y="12825"/>
                  </a:lnTo>
                  <a:lnTo>
                    <a:pt x="16200" y="21600"/>
                  </a:lnTo>
                  <a:lnTo>
                    <a:pt x="21600" y="21600"/>
                  </a:lnTo>
                  <a:close/>
                  <a:moveTo>
                    <a:pt x="4050" y="4050"/>
                  </a:moveTo>
                  <a:lnTo>
                    <a:pt x="16875" y="4050"/>
                  </a:lnTo>
                  <a:lnTo>
                    <a:pt x="16875" y="8775"/>
                  </a:lnTo>
                  <a:lnTo>
                    <a:pt x="4050" y="8775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8" name="Freeform 11"/>
            <p:cNvSpPr/>
            <p:nvPr/>
          </p:nvSpPr>
          <p:spPr>
            <a:xfrm>
              <a:off x="614643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2025"/>
                  </a:lnTo>
                  <a:lnTo>
                    <a:pt x="20925" y="0"/>
                  </a:lnTo>
                  <a:lnTo>
                    <a:pt x="675" y="0"/>
                  </a:lnTo>
                  <a:lnTo>
                    <a:pt x="0" y="2025"/>
                  </a:lnTo>
                  <a:lnTo>
                    <a:pt x="0" y="19575"/>
                  </a:lnTo>
                  <a:lnTo>
                    <a:pt x="675" y="2092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25"/>
                  </a:lnTo>
                  <a:lnTo>
                    <a:pt x="21600" y="19575"/>
                  </a:lnTo>
                  <a:close/>
                  <a:moveTo>
                    <a:pt x="4050" y="4050"/>
                  </a:moveTo>
                  <a:lnTo>
                    <a:pt x="17550" y="4050"/>
                  </a:lnTo>
                  <a:lnTo>
                    <a:pt x="17550" y="17550"/>
                  </a:lnTo>
                  <a:lnTo>
                    <a:pt x="4050" y="17550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9" name="Freeform 12"/>
            <p:cNvSpPr/>
            <p:nvPr/>
          </p:nvSpPr>
          <p:spPr>
            <a:xfrm>
              <a:off x="216522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582"/>
                  </a:move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725" y="21600"/>
                  </a:lnTo>
                  <a:lnTo>
                    <a:pt x="4725" y="13091"/>
                  </a:lnTo>
                  <a:lnTo>
                    <a:pt x="17550" y="13091"/>
                  </a:lnTo>
                  <a:lnTo>
                    <a:pt x="17550" y="8509"/>
                  </a:lnTo>
                  <a:lnTo>
                    <a:pt x="4725" y="8509"/>
                  </a:lnTo>
                  <a:lnTo>
                    <a:pt x="4725" y="4582"/>
                  </a:lnTo>
                  <a:lnTo>
                    <a:pt x="2160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0" name="Freeform 13"/>
            <p:cNvSpPr/>
            <p:nvPr/>
          </p:nvSpPr>
          <p:spPr>
            <a:xfrm>
              <a:off x="311978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  <a:moveTo>
                    <a:pt x="4050" y="4582"/>
                  </a:moveTo>
                  <a:lnTo>
                    <a:pt x="17550" y="4582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1" name="Freeform 14"/>
            <p:cNvSpPr/>
            <p:nvPr/>
          </p:nvSpPr>
          <p:spPr>
            <a:xfrm>
              <a:off x="412090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4400"/>
                  </a:lnTo>
                  <a:lnTo>
                    <a:pt x="17550" y="15055"/>
                  </a:lnTo>
                  <a:lnTo>
                    <a:pt x="17550" y="17018"/>
                  </a:lnTo>
                  <a:lnTo>
                    <a:pt x="4725" y="17018"/>
                  </a:lnTo>
                  <a:lnTo>
                    <a:pt x="4725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700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700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2" name="Freeform 15"/>
            <p:cNvSpPr/>
            <p:nvPr/>
          </p:nvSpPr>
          <p:spPr>
            <a:xfrm>
              <a:off x="514531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0"/>
                  </a:lnTo>
                  <a:lnTo>
                    <a:pt x="16875" y="0"/>
                  </a:lnTo>
                  <a:lnTo>
                    <a:pt x="16875" y="17018"/>
                  </a:lnTo>
                  <a:lnTo>
                    <a:pt x="4050" y="17018"/>
                  </a:lnTo>
                  <a:lnTo>
                    <a:pt x="4050" y="0"/>
                  </a:lnTo>
                  <a:lnTo>
                    <a:pt x="0" y="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8900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3" name="Freeform 16"/>
            <p:cNvSpPr/>
            <p:nvPr/>
          </p:nvSpPr>
          <p:spPr>
            <a:xfrm>
              <a:off x="614643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1127"/>
                  </a:lnTo>
                  <a:lnTo>
                    <a:pt x="20925" y="9164"/>
                  </a:lnTo>
                  <a:lnTo>
                    <a:pt x="19575" y="8509"/>
                  </a:lnTo>
                  <a:lnTo>
                    <a:pt x="4050" y="8509"/>
                  </a:lnTo>
                  <a:lnTo>
                    <a:pt x="4050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0473"/>
                  </a:lnTo>
                  <a:lnTo>
                    <a:pt x="675" y="12436"/>
                  </a:lnTo>
                  <a:lnTo>
                    <a:pt x="2025" y="13091"/>
                  </a:lnTo>
                  <a:lnTo>
                    <a:pt x="17550" y="13091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15055"/>
                  </a:lnTo>
                  <a:lnTo>
                    <a:pt x="0" y="1440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4" name="Freeform 17"/>
            <p:cNvSpPr/>
            <p:nvPr/>
          </p:nvSpPr>
          <p:spPr>
            <a:xfrm>
              <a:off x="707771" y="-1"/>
              <a:ext cx="32596" cy="325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lnTo>
                    <a:pt x="6171" y="20057"/>
                  </a:lnTo>
                  <a:lnTo>
                    <a:pt x="3086" y="18514"/>
                  </a:lnTo>
                  <a:lnTo>
                    <a:pt x="0" y="13886"/>
                  </a:lnTo>
                  <a:lnTo>
                    <a:pt x="0" y="6171"/>
                  </a:lnTo>
                  <a:lnTo>
                    <a:pt x="6171" y="0"/>
                  </a:lnTo>
                  <a:lnTo>
                    <a:pt x="13886" y="0"/>
                  </a:lnTo>
                  <a:lnTo>
                    <a:pt x="18514" y="3086"/>
                  </a:lnTo>
                  <a:lnTo>
                    <a:pt x="20057" y="6171"/>
                  </a:lnTo>
                  <a:lnTo>
                    <a:pt x="21600" y="10800"/>
                  </a:lnTo>
                  <a:lnTo>
                    <a:pt x="20057" y="13886"/>
                  </a:lnTo>
                  <a:lnTo>
                    <a:pt x="18514" y="18514"/>
                  </a:lnTo>
                  <a:lnTo>
                    <a:pt x="13886" y="20057"/>
                  </a:lnTo>
                  <a:lnTo>
                    <a:pt x="10800" y="21600"/>
                  </a:lnTo>
                  <a:close/>
                  <a:moveTo>
                    <a:pt x="10800" y="0"/>
                  </a:moveTo>
                  <a:lnTo>
                    <a:pt x="6171" y="1543"/>
                  </a:lnTo>
                  <a:lnTo>
                    <a:pt x="3086" y="3086"/>
                  </a:lnTo>
                  <a:lnTo>
                    <a:pt x="1543" y="6171"/>
                  </a:lnTo>
                  <a:lnTo>
                    <a:pt x="0" y="10800"/>
                  </a:lnTo>
                  <a:lnTo>
                    <a:pt x="3086" y="16971"/>
                  </a:lnTo>
                  <a:lnTo>
                    <a:pt x="6171" y="18514"/>
                  </a:lnTo>
                  <a:lnTo>
                    <a:pt x="10800" y="20057"/>
                  </a:lnTo>
                  <a:lnTo>
                    <a:pt x="16971" y="16971"/>
                  </a:lnTo>
                  <a:lnTo>
                    <a:pt x="20057" y="10800"/>
                  </a:lnTo>
                  <a:lnTo>
                    <a:pt x="18514" y="6171"/>
                  </a:lnTo>
                  <a:lnTo>
                    <a:pt x="16971" y="3086"/>
                  </a:lnTo>
                  <a:lnTo>
                    <a:pt x="10800" y="0"/>
                  </a:lnTo>
                  <a:close/>
                  <a:moveTo>
                    <a:pt x="12343" y="16971"/>
                  </a:moveTo>
                  <a:lnTo>
                    <a:pt x="10800" y="10800"/>
                  </a:lnTo>
                  <a:lnTo>
                    <a:pt x="7714" y="10800"/>
                  </a:lnTo>
                  <a:lnTo>
                    <a:pt x="7714" y="16971"/>
                  </a:lnTo>
                  <a:lnTo>
                    <a:pt x="6171" y="16971"/>
                  </a:lnTo>
                  <a:lnTo>
                    <a:pt x="6171" y="3086"/>
                  </a:lnTo>
                  <a:lnTo>
                    <a:pt x="10800" y="3086"/>
                  </a:lnTo>
                  <a:lnTo>
                    <a:pt x="13886" y="4629"/>
                  </a:lnTo>
                  <a:lnTo>
                    <a:pt x="13886" y="9257"/>
                  </a:lnTo>
                  <a:lnTo>
                    <a:pt x="12343" y="10800"/>
                  </a:lnTo>
                  <a:lnTo>
                    <a:pt x="13886" y="16971"/>
                  </a:lnTo>
                  <a:lnTo>
                    <a:pt x="12343" y="16971"/>
                  </a:lnTo>
                  <a:close/>
                  <a:moveTo>
                    <a:pt x="7714" y="9257"/>
                  </a:moveTo>
                  <a:lnTo>
                    <a:pt x="12343" y="9257"/>
                  </a:lnTo>
                  <a:lnTo>
                    <a:pt x="12343" y="6171"/>
                  </a:lnTo>
                  <a:lnTo>
                    <a:pt x="9257" y="4629"/>
                  </a:lnTo>
                  <a:lnTo>
                    <a:pt x="7714" y="4629"/>
                  </a:lnTo>
                  <a:lnTo>
                    <a:pt x="7714" y="9257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 hangingPunct="0"/>
              <a:endParaRPr kern="0">
                <a:solidFill>
                  <a:srgbClr val="212E35"/>
                </a:solidFill>
                <a:sym typeface="Calibri"/>
              </a:endParaRPr>
            </a:p>
          </p:txBody>
        </p:sp>
      </p:grpSp>
      <p:sp>
        <p:nvSpPr>
          <p:cNvPr id="536" name="Rectangle 51"/>
          <p:cNvSpPr/>
          <p:nvPr/>
        </p:nvSpPr>
        <p:spPr>
          <a:xfrm>
            <a:off x="1048005" y="1"/>
            <a:ext cx="1799696" cy="151844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8449731"/>
      </p:ext>
    </p:extLst>
  </p:cSld>
  <p:clrMapOvr>
    <a:masterClrMapping/>
  </p:clrMapOvr>
  <p:transition spd="med"/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078933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848115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 Subtitle">
    <p:bg>
      <p:bgPr>
        <a:gradFill flip="none" rotWithShape="1">
          <a:gsLst>
            <a:gs pos="0">
              <a:schemeClr val="accent5">
                <a:lumMod val="100000"/>
              </a:schemeClr>
            </a:gs>
            <a:gs pos="37000">
              <a:schemeClr val="accent1"/>
            </a:gs>
            <a:gs pos="99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20244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6096" y="0"/>
            <a:ext cx="1220419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0000"/>
                  <a:lumOff val="20000"/>
                  <a:alpha val="34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2446511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5071003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1039758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50913" y="4411489"/>
            <a:ext cx="10314495" cy="51205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94500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027340"/>
      </p:ext>
    </p:extLst>
  </p:cSld>
  <p:clrMapOvr>
    <a:masterClrMapping/>
  </p:clrMapOvr>
  <p:hf hdr="0" ftr="0" dt="0"/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flip="none" rotWithShape="1">
          <a:gsLst>
            <a:gs pos="40000">
              <a:schemeClr val="accent1">
                <a:lumMod val="100000"/>
              </a:schemeClr>
            </a:gs>
            <a:gs pos="0">
              <a:schemeClr val="accent5"/>
            </a:gs>
            <a:gs pos="100000">
              <a:srgbClr val="0155EF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7780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5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846250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gradFill>
          <a:gsLst>
            <a:gs pos="0">
              <a:srgbClr val="1DBDFF"/>
            </a:gs>
            <a:gs pos="32000">
              <a:srgbClr val="1A8C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80465" y="0"/>
            <a:ext cx="11916181" cy="6858001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 flipV="1">
            <a:off x="-12191" y="-1"/>
            <a:ext cx="12204191" cy="6858001"/>
          </a:xfrm>
          <a:prstGeom prst="rect">
            <a:avLst/>
          </a:prstGeom>
          <a:gradFill flip="none" rotWithShape="1">
            <a:gsLst>
              <a:gs pos="14000">
                <a:schemeClr val="accent1">
                  <a:lumMod val="80000"/>
                  <a:lumOff val="20000"/>
                  <a:alpha val="10000"/>
                </a:schemeClr>
              </a:gs>
              <a:gs pos="100000">
                <a:schemeClr val="accent1">
                  <a:lumMod val="100000"/>
                  <a:alpha val="3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950976" y="341105"/>
            <a:ext cx="10314432" cy="1964978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hape 48"/>
          <p:cNvSpPr>
            <a:spLocks noGrp="1"/>
          </p:cNvSpPr>
          <p:nvPr>
            <p:ph type="body" sz="quarter" idx="10" hasCustomPrompt="1"/>
          </p:nvPr>
        </p:nvSpPr>
        <p:spPr>
          <a:xfrm>
            <a:off x="951663" y="2333175"/>
            <a:ext cx="4270249" cy="14274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000">
                <a:solidFill>
                  <a:srgbClr val="FFFFFF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peaker Name</a:t>
            </a:r>
            <a:endParaRPr dirty="0"/>
          </a:p>
          <a:p>
            <a:pPr lvl="1"/>
            <a:r>
              <a:rPr lang="en-US" dirty="0"/>
              <a:t>Title/Company</a:t>
            </a:r>
            <a:endParaRPr dirty="0"/>
          </a:p>
          <a:p>
            <a:pPr lvl="2"/>
            <a:r>
              <a:rPr lang="en-US" dirty="0"/>
              <a:t>Date</a:t>
            </a:r>
            <a:endParaRPr dirty="0"/>
          </a:p>
        </p:txBody>
      </p:sp>
      <p:grpSp>
        <p:nvGrpSpPr>
          <p:cNvPr id="10" name="Large Logo"/>
          <p:cNvGrpSpPr/>
          <p:nvPr/>
        </p:nvGrpSpPr>
        <p:grpSpPr>
          <a:xfrm>
            <a:off x="946986" y="5176329"/>
            <a:ext cx="2805821" cy="680014"/>
            <a:chOff x="5753494" y="2024196"/>
            <a:chExt cx="846681" cy="20520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84262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SzPct val="80000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20616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992786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</a:t>
            </a:r>
          </a:p>
        </p:txBody>
      </p:sp>
      <p:sp>
        <p:nvSpPr>
          <p:cNvPr id="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1176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057119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1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ontent + Subtitle—INFORM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206983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Only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165420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Title + Subtitle Only 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780753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183103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419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—INFORM</a:t>
            </a:r>
          </a:p>
        </p:txBody>
      </p:sp>
      <p:sp>
        <p:nvSpPr>
          <p:cNvPr id="9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7960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265719"/>
      </p:ext>
    </p:extLst>
  </p:cSld>
  <p:clrMapOvr>
    <a:masterClrMapping/>
  </p:clrMapOvr>
  <p:hf hdr="0" ftr="0" dt="0"/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50976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9350" y="1736725"/>
            <a:ext cx="5029200" cy="44402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—INFO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756434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0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wo Columns with Headings—INFORM</a:t>
            </a: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210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46785" y="1736725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976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22441" y="1736724"/>
            <a:ext cx="5029200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22441" y="2224405"/>
            <a:ext cx="5029200" cy="39553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- avoid</a:t>
            </a:r>
          </a:p>
          <a:p>
            <a:pPr lvl="4"/>
            <a:r>
              <a:rPr lang="en-US" dirty="0"/>
              <a:t>Fifth level - avoid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wo Column with Subtitle and Headings—INFOR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7" y="1087119"/>
            <a:ext cx="10307574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4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284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Three Column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73033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4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Headings —INFORM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198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1736725"/>
            <a:ext cx="3268376" cy="4440239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1736725"/>
            <a:ext cx="3229804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1736725"/>
            <a:ext cx="3367536" cy="4440239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—INFORM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005860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Subtitle and Heading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6785" y="2205038"/>
            <a:ext cx="3268376" cy="3971926"/>
          </a:xfrm>
        </p:spPr>
        <p:txBody>
          <a:bodyPr/>
          <a:lstStyle>
            <a:lvl1pPr marL="228594" indent="-228594"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 baseline="0"/>
            </a:lvl4pPr>
            <a:lvl5pPr>
              <a:spcAft>
                <a:spcPts val="600"/>
              </a:spcAft>
              <a:defRPr sz="1400" baseline="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7035" y="2205038"/>
            <a:ext cx="3229804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7868712" y="2205038"/>
            <a:ext cx="3367536" cy="3971926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6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– avoid as too small</a:t>
            </a:r>
          </a:p>
          <a:p>
            <a:pPr lvl="3"/>
            <a:r>
              <a:rPr lang="en-US" dirty="0"/>
              <a:t>Fourth – avoid as too small</a:t>
            </a:r>
          </a:p>
          <a:p>
            <a:pPr lvl="4"/>
            <a:r>
              <a:rPr lang="en-US" dirty="0"/>
              <a:t>Fifth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46785" y="1736725"/>
            <a:ext cx="326837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7035" y="1736724"/>
            <a:ext cx="3229804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68712" y="1736725"/>
            <a:ext cx="3367536" cy="417195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olumn Title 20 </a:t>
            </a:r>
            <a:r>
              <a:rPr lang="en-US" dirty="0" err="1"/>
              <a:t>pt</a:t>
            </a:r>
            <a:r>
              <a:rPr lang="en-US" dirty="0"/>
              <a:t> bol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46786" y="429275"/>
            <a:ext cx="10311765" cy="657844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Three Column with Subtitle and Headings—INFORM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50976" y="1087119"/>
            <a:ext cx="10307575" cy="418375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000" b="0" kern="1200" baseline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20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20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Subtitle text in Calibri (20pt)</a:t>
            </a:r>
          </a:p>
        </p:txBody>
      </p:sp>
      <p:sp>
        <p:nvSpPr>
          <p:cNvPr id="1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627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0" indent="0">
              <a:spcAft>
                <a:spcPts val="600"/>
              </a:spcAft>
              <a:buFont typeface="Wingdings" panose="05000000000000000000" pitchFamily="2" charset="2"/>
              <a:buNone/>
              <a:defRPr sz="2400"/>
            </a:lvl1pPr>
            <a:lvl2pPr marL="346075" indent="0">
              <a:spcAft>
                <a:spcPts val="600"/>
              </a:spcAft>
              <a:buNone/>
              <a:defRPr sz="1800"/>
            </a:lvl2pPr>
            <a:lvl3pPr marL="574675" indent="0">
              <a:spcAft>
                <a:spcPts val="600"/>
              </a:spcAft>
              <a:buNone/>
              <a:defRPr sz="1600"/>
            </a:lvl3pPr>
            <a:lvl4pPr marL="744538" indent="0">
              <a:spcAft>
                <a:spcPts val="600"/>
              </a:spcAft>
              <a:buNone/>
              <a:defRPr sz="1600"/>
            </a:lvl4pPr>
            <a:lvl5pPr marL="922337" indent="0">
              <a:spcAft>
                <a:spcPts val="6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433677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4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Image Left with Bullets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023655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with Bullets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946786" y="1736726"/>
            <a:ext cx="6286795" cy="4443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7404101" y="1736724"/>
            <a:ext cx="3854450" cy="4443413"/>
          </a:xfrm>
        </p:spPr>
        <p:txBody>
          <a:bodyPr>
            <a:norm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" name="Title Placeholder"/>
          <p:cNvSpPr>
            <a:spLocks noGrp="1"/>
          </p:cNvSpPr>
          <p:nvPr>
            <p:ph type="title" hasCustomPrompt="1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Image Left with Bullets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8885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45724778"/>
      </p:ext>
    </p:extLst>
  </p:cSld>
  <p:clrMapOvr>
    <a:masterClrMapping/>
  </p:clrMapOvr>
  <p:hf hdr="0" ftr="0" dt="0"/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Image Righ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400"/>
            </a:lvl1pPr>
            <a:lvl2pPr marL="346075" indent="0">
              <a:spcAft>
                <a:spcPts val="1200"/>
              </a:spcAft>
              <a:buNone/>
              <a:defRPr sz="1800"/>
            </a:lvl2pPr>
            <a:lvl3pPr marL="574675" indent="0">
              <a:spcAft>
                <a:spcPts val="1200"/>
              </a:spcAft>
              <a:buNone/>
              <a:defRPr sz="1600"/>
            </a:lvl3pPr>
            <a:lvl4pPr marL="744538" indent="0">
              <a:spcAft>
                <a:spcPts val="1200"/>
              </a:spcAft>
              <a:buNone/>
              <a:defRPr sz="1600"/>
            </a:lvl4pPr>
            <a:lvl5pPr marL="922337" indent="0"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612101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First level 2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048430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 with Bullets—INFOR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5113360" y="1736725"/>
            <a:ext cx="6145191" cy="44434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mage Right with Bullets—INFOR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946786" y="1736725"/>
            <a:ext cx="3955414" cy="4443413"/>
          </a:xfrm>
        </p:spPr>
        <p:txBody>
          <a:bodyPr/>
          <a:lstStyle>
            <a:lvl1pPr>
              <a:spcAft>
                <a:spcPts val="1200"/>
              </a:spcAft>
              <a:defRPr sz="2000"/>
            </a:lvl1pPr>
            <a:lvl2pPr>
              <a:spcAft>
                <a:spcPts val="1200"/>
              </a:spcAft>
              <a:defRPr sz="1800"/>
            </a:lvl2pPr>
            <a:lvl3pPr>
              <a:spcAft>
                <a:spcPts val="1200"/>
              </a:spcAft>
              <a:defRPr sz="16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– avoid as too small</a:t>
            </a:r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13318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7750" y="1987091"/>
            <a:ext cx="4383499" cy="39363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alf Screen Image Righ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6191251" y="1"/>
            <a:ext cx="600075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31685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9250" y="1951465"/>
            <a:ext cx="4383499" cy="39363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alf Screen Image </a:t>
            </a:r>
            <a:br>
              <a:rPr lang="en-US" dirty="0"/>
            </a:br>
            <a:r>
              <a:rPr lang="en-US" dirty="0"/>
              <a:t>Left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1" y="1"/>
            <a:ext cx="6000752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2049167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41400" y="0"/>
            <a:ext cx="18034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060517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w Mark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8621972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Mark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753" y="4408637"/>
            <a:ext cx="698500" cy="701675"/>
          </a:xfrm>
          <a:custGeom>
            <a:avLst/>
            <a:gdLst>
              <a:gd name="T0" fmla="*/ 0 w 440"/>
              <a:gd name="T1" fmla="*/ 442 h 442"/>
              <a:gd name="T2" fmla="*/ 0 w 440"/>
              <a:gd name="T3" fmla="*/ 0 h 442"/>
              <a:gd name="T4" fmla="*/ 106 w 440"/>
              <a:gd name="T5" fmla="*/ 0 h 442"/>
              <a:gd name="T6" fmla="*/ 106 w 440"/>
              <a:gd name="T7" fmla="*/ 334 h 442"/>
              <a:gd name="T8" fmla="*/ 440 w 440"/>
              <a:gd name="T9" fmla="*/ 334 h 442"/>
              <a:gd name="T10" fmla="*/ 440 w 440"/>
              <a:gd name="T11" fmla="*/ 442 h 442"/>
              <a:gd name="T12" fmla="*/ 0 w 440"/>
              <a:gd name="T13" fmla="*/ 442 h 442"/>
              <a:gd name="T14" fmla="*/ 0 w 440"/>
              <a:gd name="T15" fmla="*/ 442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0" h="442">
                <a:moveTo>
                  <a:pt x="0" y="442"/>
                </a:moveTo>
                <a:lnTo>
                  <a:pt x="0" y="0"/>
                </a:lnTo>
                <a:lnTo>
                  <a:pt x="106" y="0"/>
                </a:lnTo>
                <a:lnTo>
                  <a:pt x="106" y="334"/>
                </a:lnTo>
                <a:lnTo>
                  <a:pt x="440" y="334"/>
                </a:lnTo>
                <a:lnTo>
                  <a:pt x="440" y="442"/>
                </a:lnTo>
                <a:lnTo>
                  <a:pt x="0" y="442"/>
                </a:lnTo>
                <a:lnTo>
                  <a:pt x="0" y="4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916282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Mark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14609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Mark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274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81984729"/>
      </p:ext>
    </p:extLst>
  </p:cSld>
  <p:clrMapOvr>
    <a:masterClrMapping/>
  </p:clrMapOvr>
  <p:hf hdr="0" ftr="0" dt="0"/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Mark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98257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Break w Mark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089709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w Mark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/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708947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w Numbers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94182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89135017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 w Numbers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oup 12"/>
          <p:cNvGrpSpPr/>
          <p:nvPr/>
        </p:nvGrpSpPr>
        <p:grpSpPr>
          <a:xfrm>
            <a:off x="9437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53353763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251724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66812030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87336005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Break w Numbers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57047927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Break w Numbers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7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7748906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w Numbers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97076006"/>
      </p:ext>
    </p:extLst>
  </p:cSld>
  <p:clrMapOvr>
    <a:masterClrMapping/>
  </p:clrMapOvr>
  <p:hf hdr="0" ftr="0" dt="0"/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Color">
    <p:bg>
      <p:bgPr>
        <a:gradFill>
          <a:gsLst>
            <a:gs pos="0">
              <a:srgbClr val="1DBDFF"/>
            </a:gs>
            <a:gs pos="47000">
              <a:srgbClr val="188DFF"/>
            </a:gs>
            <a:gs pos="100000">
              <a:srgbClr val="752FB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621375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Color">
    <p:bg>
      <p:bgPr>
        <a:gradFill>
          <a:gsLst>
            <a:gs pos="0">
              <a:srgbClr val="2694FF"/>
            </a:gs>
            <a:gs pos="42000">
              <a:srgbClr val="0A88FF"/>
            </a:gs>
            <a:gs pos="100000">
              <a:srgbClr val="0155E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568728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Color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477267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 Color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939155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 Color">
    <p:bg>
      <p:bgPr>
        <a:gradFill>
          <a:gsLst>
            <a:gs pos="24000">
              <a:srgbClr val="BF1697"/>
            </a:gs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35992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 Color">
    <p:bg>
      <p:bgPr>
        <a:gradFill>
          <a:gsLst>
            <a:gs pos="0">
              <a:schemeClr val="accent5"/>
            </a:gs>
            <a:gs pos="100000">
              <a:srgbClr val="00A4ED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574492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_Color">
    <p:bg>
      <p:bgPr>
        <a:gradFill>
          <a:gsLst>
            <a:gs pos="0">
              <a:schemeClr val="accent6"/>
            </a:gs>
            <a:gs pos="100000">
              <a:srgbClr val="11BAB6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427422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Gray">
    <p:bg>
      <p:bgPr>
        <a:gradFill>
          <a:gsLst>
            <a:gs pos="0">
              <a:schemeClr val="bg2">
                <a:lumMod val="95000"/>
                <a:lumOff val="5000"/>
              </a:schemeClr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white bar" descr="Rectangle 59"/>
          <p:cNvSpPr/>
          <p:nvPr userDrawn="1"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760077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bg>
      <p:bgPr>
        <a:gradFill flip="none" rotWithShape="1">
          <a:gsLst>
            <a:gs pos="0">
              <a:schemeClr val="accent5"/>
            </a:gs>
            <a:gs pos="47000">
              <a:schemeClr val="accent1">
                <a:lumMod val="90000"/>
                <a:lumOff val="10000"/>
              </a:schemeClr>
            </a:gs>
            <a:gs pos="10000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4463703" y="2986727"/>
            <a:ext cx="3649746" cy="884546"/>
            <a:chOff x="5753494" y="2024196"/>
            <a:chExt cx="846681" cy="205200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5793240" y="2024196"/>
              <a:ext cx="164530" cy="164530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753494" y="2063942"/>
              <a:ext cx="164530" cy="165454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6005835" y="2024196"/>
              <a:ext cx="95206" cy="88735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auto">
            <a:xfrm>
              <a:off x="6145407" y="2024196"/>
              <a:ext cx="16638" cy="887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6207337" y="2024196"/>
              <a:ext cx="85962" cy="88735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6337667" y="2024196"/>
              <a:ext cx="86886" cy="88735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6468920" y="2024196"/>
              <a:ext cx="85962" cy="88735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6005835" y="2140661"/>
              <a:ext cx="86886" cy="87811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6116753" y="2140661"/>
              <a:ext cx="85962" cy="87811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6234142" y="2140661"/>
              <a:ext cx="85962" cy="88735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6351532" y="2140661"/>
              <a:ext cx="85962" cy="87811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6467996" y="2140661"/>
              <a:ext cx="86886" cy="88735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5" name="Freeform 17"/>
            <p:cNvSpPr>
              <a:spLocks noEditPoints="1"/>
            </p:cNvSpPr>
            <p:nvPr/>
          </p:nvSpPr>
          <p:spPr bwMode="auto">
            <a:xfrm>
              <a:off x="6567823" y="2025120"/>
              <a:ext cx="32352" cy="323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5475569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3331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w Numbers">
    <p:bg>
      <p:bgPr>
        <a:gradFill>
          <a:gsLst>
            <a:gs pos="0">
              <a:srgbClr val="8230B7"/>
            </a:gs>
            <a:gs pos="100000">
              <a:srgbClr val="4C248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3000"/>
            </a:schemeClr>
          </a:solidFill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8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43769440"/>
      </p:ext>
    </p:extLst>
  </p:cSld>
  <p:clrMapOvr>
    <a:masterClrMapping/>
  </p:clrMapOvr>
  <p:hf hdr="0" ftr="0" dt="0"/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ariation-Background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 userDrawn="1"/>
        </p:nvSpPr>
        <p:spPr>
          <a:xfrm>
            <a:off x="10687456" y="6400801"/>
            <a:ext cx="872107" cy="361857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alpha val="0"/>
              </a:schemeClr>
            </a:solidFill>
          </a:ln>
        </p:spPr>
        <p:txBody>
          <a:bodyPr wrap="square" lIns="0" tIns="0" rIns="0" bIns="0" rtlCol="0" anchor="b" anchorCtr="0">
            <a:noAutofit/>
          </a:bodyPr>
          <a:lstStyle/>
          <a:p>
            <a:pPr algn="r" defTabSz="1219170">
              <a:defRPr/>
            </a:pPr>
            <a:r>
              <a:rPr lang="en-US" sz="1200" dirty="0">
                <a:solidFill>
                  <a:srgbClr val="FFFFFF"/>
                </a:solidFill>
              </a:rPr>
              <a:t>1.</a:t>
            </a:r>
            <a:fld id="{ABA28972-6D48-4F49-8D9E-11DAC31E3DF7}" type="slidenum">
              <a:rPr lang="en-US" sz="1200" smtClean="0">
                <a:solidFill>
                  <a:srgbClr val="FFFFFF"/>
                </a:solidFill>
              </a:rPr>
              <a:pPr algn="r" defTabSz="1219170">
                <a:defRPr/>
              </a:pPr>
              <a:t>‹#›</a:t>
            </a:fld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4" name="Picture 3" descr="4.5-PPTBackgrounds_Blue-patter-Full-Scre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224511" cy="6876288"/>
          </a:xfrm>
          <a:prstGeom prst="rect">
            <a:avLst/>
          </a:prstGeom>
        </p:spPr>
      </p:pic>
      <p:sp>
        <p:nvSpPr>
          <p:cNvPr id="45" name="TextBox 44"/>
          <p:cNvSpPr txBox="1"/>
          <p:nvPr userDrawn="1"/>
        </p:nvSpPr>
        <p:spPr>
          <a:xfrm>
            <a:off x="2012213" y="6538800"/>
            <a:ext cx="1747763" cy="2154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chemeClr val="bg1">
                <a:alpha val="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Scaled Agile, Inc</a:t>
            </a:r>
            <a:r>
              <a:rPr lang="en-US" sz="800">
                <a:solidFill>
                  <a:srgbClr val="FFFFFF"/>
                </a:solidFill>
              </a:rPr>
              <a:t>. 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46" name="Picture 45" descr="PPT-size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614" y="6579223"/>
            <a:ext cx="1490133" cy="16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03623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Kicker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128069"/>
            <a:ext cx="11006667" cy="67821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aseline="0"/>
            </a:lvl1pPr>
            <a:lvl2pPr marL="469876" indent="0">
              <a:spcBef>
                <a:spcPts val="0"/>
              </a:spcBef>
              <a:spcAft>
                <a:spcPts val="0"/>
              </a:spcAft>
              <a:buNone/>
              <a:defRPr sz="2200"/>
            </a:lvl2pPr>
            <a:lvl3pPr marL="800060" indent="0">
              <a:spcBef>
                <a:spcPts val="0"/>
              </a:spcBef>
              <a:spcAft>
                <a:spcPts val="0"/>
              </a:spcAft>
              <a:buNone/>
              <a:defRPr sz="2200"/>
            </a:lvl3pPr>
            <a:lvl4pPr marL="1142942" indent="0">
              <a:spcBef>
                <a:spcPts val="0"/>
              </a:spcBef>
              <a:spcAft>
                <a:spcPts val="0"/>
              </a:spcAft>
              <a:buNone/>
              <a:defRPr sz="2200"/>
            </a:lvl4pPr>
            <a:lvl5pPr marL="1435028" indent="0">
              <a:spcBef>
                <a:spcPts val="0"/>
              </a:spcBef>
              <a:spcAft>
                <a:spcPts val="0"/>
              </a:spcAft>
              <a:buNone/>
              <a:defRPr sz="2200"/>
            </a:lvl5pPr>
          </a:lstStyle>
          <a:p>
            <a:pPr lvl="0"/>
            <a:r>
              <a:rPr lang="en-US" dirty="0"/>
              <a:t>Click to edit kicker box copy. Two lines max.</a:t>
            </a:r>
          </a:p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040" y="2040498"/>
            <a:ext cx="5181600" cy="43456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2040498"/>
            <a:ext cx="5181600" cy="43456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79324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w Numbers">
    <p:bg>
      <p:bgPr>
        <a:gradFill>
          <a:gsLst>
            <a:gs pos="0">
              <a:schemeClr val="accent4">
                <a:alpha val="90000"/>
              </a:schemeClr>
            </a:gs>
            <a:gs pos="100000">
              <a:schemeClr val="accent4">
                <a:lumMod val="7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PT Backdrop-01.png"/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10241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148840" y="3767327"/>
            <a:ext cx="9109710" cy="1874520"/>
          </a:xfrm>
        </p:spPr>
        <p:txBody>
          <a:bodyPr lIns="91440" tIns="45720" rIns="91440" bIns="45720"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956453" y="4240362"/>
            <a:ext cx="869950" cy="869950"/>
            <a:chOff x="3513138" y="642938"/>
            <a:chExt cx="869950" cy="869950"/>
          </a:xfrm>
          <a:solidFill>
            <a:schemeClr val="bg1">
              <a:alpha val="5000"/>
            </a:schemeClr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513138" y="811213"/>
              <a:ext cx="698500" cy="701675"/>
            </a:xfrm>
            <a:custGeom>
              <a:avLst/>
              <a:gdLst>
                <a:gd name="T0" fmla="*/ 0 w 440"/>
                <a:gd name="T1" fmla="*/ 442 h 442"/>
                <a:gd name="T2" fmla="*/ 0 w 440"/>
                <a:gd name="T3" fmla="*/ 0 h 442"/>
                <a:gd name="T4" fmla="*/ 106 w 440"/>
                <a:gd name="T5" fmla="*/ 0 h 442"/>
                <a:gd name="T6" fmla="*/ 106 w 440"/>
                <a:gd name="T7" fmla="*/ 334 h 442"/>
                <a:gd name="T8" fmla="*/ 440 w 440"/>
                <a:gd name="T9" fmla="*/ 334 h 442"/>
                <a:gd name="T10" fmla="*/ 440 w 440"/>
                <a:gd name="T11" fmla="*/ 442 h 442"/>
                <a:gd name="T12" fmla="*/ 0 w 440"/>
                <a:gd name="T13" fmla="*/ 442 h 442"/>
                <a:gd name="T14" fmla="*/ 0 w 440"/>
                <a:gd name="T15" fmla="*/ 44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0" h="442">
                  <a:moveTo>
                    <a:pt x="0" y="442"/>
                  </a:moveTo>
                  <a:lnTo>
                    <a:pt x="0" y="0"/>
                  </a:lnTo>
                  <a:lnTo>
                    <a:pt x="106" y="0"/>
                  </a:lnTo>
                  <a:lnTo>
                    <a:pt x="106" y="334"/>
                  </a:lnTo>
                  <a:lnTo>
                    <a:pt x="440" y="334"/>
                  </a:lnTo>
                  <a:lnTo>
                    <a:pt x="440" y="442"/>
                  </a:lnTo>
                  <a:lnTo>
                    <a:pt x="0" y="442"/>
                  </a:lnTo>
                  <a:lnTo>
                    <a:pt x="0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1413" y="642938"/>
              <a:ext cx="701675" cy="698500"/>
            </a:xfrm>
            <a:custGeom>
              <a:avLst/>
              <a:gdLst>
                <a:gd name="T0" fmla="*/ 0 w 442"/>
                <a:gd name="T1" fmla="*/ 106 h 440"/>
                <a:gd name="T2" fmla="*/ 0 w 442"/>
                <a:gd name="T3" fmla="*/ 0 h 440"/>
                <a:gd name="T4" fmla="*/ 442 w 442"/>
                <a:gd name="T5" fmla="*/ 0 h 440"/>
                <a:gd name="T6" fmla="*/ 442 w 442"/>
                <a:gd name="T7" fmla="*/ 440 h 440"/>
                <a:gd name="T8" fmla="*/ 334 w 442"/>
                <a:gd name="T9" fmla="*/ 440 h 440"/>
                <a:gd name="T10" fmla="*/ 334 w 442"/>
                <a:gd name="T11" fmla="*/ 106 h 440"/>
                <a:gd name="T12" fmla="*/ 0 w 442"/>
                <a:gd name="T13" fmla="*/ 106 h 440"/>
                <a:gd name="T14" fmla="*/ 0 w 442"/>
                <a:gd name="T15" fmla="*/ 106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440">
                  <a:moveTo>
                    <a:pt x="0" y="10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442" y="440"/>
                  </a:lnTo>
                  <a:lnTo>
                    <a:pt x="334" y="440"/>
                  </a:lnTo>
                  <a:lnTo>
                    <a:pt x="334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" name="white bar" descr="Rectangle 59"/>
          <p:cNvSpPr/>
          <p:nvPr/>
        </p:nvSpPr>
        <p:spPr>
          <a:xfrm>
            <a:off x="946405" y="0"/>
            <a:ext cx="1799696" cy="15184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44563" y="3767138"/>
            <a:ext cx="1085204" cy="1874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6500946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slideLayout" Target="../slideLayouts/slideLayout421.xml"/><Relationship Id="rId18" Type="http://schemas.openxmlformats.org/officeDocument/2006/relationships/slideLayout" Target="../slideLayouts/slideLayout426.xml"/><Relationship Id="rId26" Type="http://schemas.openxmlformats.org/officeDocument/2006/relationships/slideLayout" Target="../slideLayouts/slideLayout434.xml"/><Relationship Id="rId39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11.xml"/><Relationship Id="rId21" Type="http://schemas.openxmlformats.org/officeDocument/2006/relationships/slideLayout" Target="../slideLayouts/slideLayout429.xml"/><Relationship Id="rId34" Type="http://schemas.openxmlformats.org/officeDocument/2006/relationships/slideLayout" Target="../slideLayouts/slideLayout442.xml"/><Relationship Id="rId42" Type="http://schemas.openxmlformats.org/officeDocument/2006/relationships/theme" Target="../theme/theme10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slideLayout" Target="../slideLayouts/slideLayout425.xml"/><Relationship Id="rId25" Type="http://schemas.openxmlformats.org/officeDocument/2006/relationships/slideLayout" Target="../slideLayouts/slideLayout433.xml"/><Relationship Id="rId33" Type="http://schemas.openxmlformats.org/officeDocument/2006/relationships/slideLayout" Target="../slideLayouts/slideLayout441.xml"/><Relationship Id="rId38" Type="http://schemas.openxmlformats.org/officeDocument/2006/relationships/slideLayout" Target="../slideLayouts/slideLayout446.xml"/><Relationship Id="rId2" Type="http://schemas.openxmlformats.org/officeDocument/2006/relationships/slideLayout" Target="../slideLayouts/slideLayout410.xml"/><Relationship Id="rId16" Type="http://schemas.openxmlformats.org/officeDocument/2006/relationships/slideLayout" Target="../slideLayouts/slideLayout424.xml"/><Relationship Id="rId20" Type="http://schemas.openxmlformats.org/officeDocument/2006/relationships/slideLayout" Target="../slideLayouts/slideLayout428.xml"/><Relationship Id="rId29" Type="http://schemas.openxmlformats.org/officeDocument/2006/relationships/slideLayout" Target="../slideLayouts/slideLayout437.xml"/><Relationship Id="rId41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24" Type="http://schemas.openxmlformats.org/officeDocument/2006/relationships/slideLayout" Target="../slideLayouts/slideLayout432.xml"/><Relationship Id="rId32" Type="http://schemas.openxmlformats.org/officeDocument/2006/relationships/slideLayout" Target="../slideLayouts/slideLayout440.xml"/><Relationship Id="rId37" Type="http://schemas.openxmlformats.org/officeDocument/2006/relationships/slideLayout" Target="../slideLayouts/slideLayout445.xml"/><Relationship Id="rId40" Type="http://schemas.openxmlformats.org/officeDocument/2006/relationships/slideLayout" Target="../slideLayouts/slideLayout448.xml"/><Relationship Id="rId5" Type="http://schemas.openxmlformats.org/officeDocument/2006/relationships/slideLayout" Target="../slideLayouts/slideLayout413.xml"/><Relationship Id="rId15" Type="http://schemas.openxmlformats.org/officeDocument/2006/relationships/slideLayout" Target="../slideLayouts/slideLayout423.xml"/><Relationship Id="rId23" Type="http://schemas.openxmlformats.org/officeDocument/2006/relationships/slideLayout" Target="../slideLayouts/slideLayout431.xml"/><Relationship Id="rId28" Type="http://schemas.openxmlformats.org/officeDocument/2006/relationships/slideLayout" Target="../slideLayouts/slideLayout436.xml"/><Relationship Id="rId36" Type="http://schemas.openxmlformats.org/officeDocument/2006/relationships/slideLayout" Target="../slideLayouts/slideLayout444.xml"/><Relationship Id="rId10" Type="http://schemas.openxmlformats.org/officeDocument/2006/relationships/slideLayout" Target="../slideLayouts/slideLayout418.xml"/><Relationship Id="rId19" Type="http://schemas.openxmlformats.org/officeDocument/2006/relationships/slideLayout" Target="../slideLayouts/slideLayout427.xml"/><Relationship Id="rId31" Type="http://schemas.openxmlformats.org/officeDocument/2006/relationships/slideLayout" Target="../slideLayouts/slideLayout439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slideLayout" Target="../slideLayouts/slideLayout422.xml"/><Relationship Id="rId22" Type="http://schemas.openxmlformats.org/officeDocument/2006/relationships/slideLayout" Target="../slideLayouts/slideLayout430.xml"/><Relationship Id="rId27" Type="http://schemas.openxmlformats.org/officeDocument/2006/relationships/slideLayout" Target="../slideLayouts/slideLayout435.xml"/><Relationship Id="rId30" Type="http://schemas.openxmlformats.org/officeDocument/2006/relationships/slideLayout" Target="../slideLayouts/slideLayout438.xml"/><Relationship Id="rId35" Type="http://schemas.openxmlformats.org/officeDocument/2006/relationships/slideLayout" Target="../slideLayouts/slideLayout44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2.xml"/><Relationship Id="rId18" Type="http://schemas.openxmlformats.org/officeDocument/2006/relationships/slideLayout" Target="../slideLayouts/slideLayout467.xml"/><Relationship Id="rId26" Type="http://schemas.openxmlformats.org/officeDocument/2006/relationships/slideLayout" Target="../slideLayouts/slideLayout475.xml"/><Relationship Id="rId39" Type="http://schemas.openxmlformats.org/officeDocument/2006/relationships/slideLayout" Target="../slideLayouts/slideLayout488.xml"/><Relationship Id="rId21" Type="http://schemas.openxmlformats.org/officeDocument/2006/relationships/slideLayout" Target="../slideLayouts/slideLayout470.xml"/><Relationship Id="rId34" Type="http://schemas.openxmlformats.org/officeDocument/2006/relationships/slideLayout" Target="../slideLayouts/slideLayout483.xml"/><Relationship Id="rId42" Type="http://schemas.openxmlformats.org/officeDocument/2006/relationships/slideLayout" Target="../slideLayouts/slideLayout491.xml"/><Relationship Id="rId47" Type="http://schemas.openxmlformats.org/officeDocument/2006/relationships/slideLayout" Target="../slideLayouts/slideLayout496.xml"/><Relationship Id="rId50" Type="http://schemas.openxmlformats.org/officeDocument/2006/relationships/slideLayout" Target="../slideLayouts/slideLayout499.xml"/><Relationship Id="rId55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456.xml"/><Relationship Id="rId12" Type="http://schemas.openxmlformats.org/officeDocument/2006/relationships/slideLayout" Target="../slideLayouts/slideLayout461.xml"/><Relationship Id="rId17" Type="http://schemas.openxmlformats.org/officeDocument/2006/relationships/slideLayout" Target="../slideLayouts/slideLayout466.xml"/><Relationship Id="rId25" Type="http://schemas.openxmlformats.org/officeDocument/2006/relationships/slideLayout" Target="../slideLayouts/slideLayout474.xml"/><Relationship Id="rId33" Type="http://schemas.openxmlformats.org/officeDocument/2006/relationships/slideLayout" Target="../slideLayouts/slideLayout482.xml"/><Relationship Id="rId38" Type="http://schemas.openxmlformats.org/officeDocument/2006/relationships/slideLayout" Target="../slideLayouts/slideLayout487.xml"/><Relationship Id="rId46" Type="http://schemas.openxmlformats.org/officeDocument/2006/relationships/slideLayout" Target="../slideLayouts/slideLayout495.xml"/><Relationship Id="rId2" Type="http://schemas.openxmlformats.org/officeDocument/2006/relationships/slideLayout" Target="../slideLayouts/slideLayout451.xml"/><Relationship Id="rId16" Type="http://schemas.openxmlformats.org/officeDocument/2006/relationships/slideLayout" Target="../slideLayouts/slideLayout465.xml"/><Relationship Id="rId20" Type="http://schemas.openxmlformats.org/officeDocument/2006/relationships/slideLayout" Target="../slideLayouts/slideLayout469.xml"/><Relationship Id="rId29" Type="http://schemas.openxmlformats.org/officeDocument/2006/relationships/slideLayout" Target="../slideLayouts/slideLayout478.xml"/><Relationship Id="rId41" Type="http://schemas.openxmlformats.org/officeDocument/2006/relationships/slideLayout" Target="../slideLayouts/slideLayout490.xml"/><Relationship Id="rId54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450.xml"/><Relationship Id="rId6" Type="http://schemas.openxmlformats.org/officeDocument/2006/relationships/slideLayout" Target="../slideLayouts/slideLayout455.xml"/><Relationship Id="rId11" Type="http://schemas.openxmlformats.org/officeDocument/2006/relationships/slideLayout" Target="../slideLayouts/slideLayout460.xml"/><Relationship Id="rId24" Type="http://schemas.openxmlformats.org/officeDocument/2006/relationships/slideLayout" Target="../slideLayouts/slideLayout473.xml"/><Relationship Id="rId32" Type="http://schemas.openxmlformats.org/officeDocument/2006/relationships/slideLayout" Target="../slideLayouts/slideLayout481.xml"/><Relationship Id="rId37" Type="http://schemas.openxmlformats.org/officeDocument/2006/relationships/slideLayout" Target="../slideLayouts/slideLayout486.xml"/><Relationship Id="rId40" Type="http://schemas.openxmlformats.org/officeDocument/2006/relationships/slideLayout" Target="../slideLayouts/slideLayout489.xml"/><Relationship Id="rId45" Type="http://schemas.openxmlformats.org/officeDocument/2006/relationships/slideLayout" Target="../slideLayouts/slideLayout494.xml"/><Relationship Id="rId53" Type="http://schemas.openxmlformats.org/officeDocument/2006/relationships/slideLayout" Target="../slideLayouts/slideLayout502.xml"/><Relationship Id="rId58" Type="http://schemas.openxmlformats.org/officeDocument/2006/relationships/theme" Target="../theme/theme11.xml"/><Relationship Id="rId5" Type="http://schemas.openxmlformats.org/officeDocument/2006/relationships/slideLayout" Target="../slideLayouts/slideLayout454.xml"/><Relationship Id="rId15" Type="http://schemas.openxmlformats.org/officeDocument/2006/relationships/slideLayout" Target="../slideLayouts/slideLayout464.xml"/><Relationship Id="rId23" Type="http://schemas.openxmlformats.org/officeDocument/2006/relationships/slideLayout" Target="../slideLayouts/slideLayout472.xml"/><Relationship Id="rId28" Type="http://schemas.openxmlformats.org/officeDocument/2006/relationships/slideLayout" Target="../slideLayouts/slideLayout477.xml"/><Relationship Id="rId36" Type="http://schemas.openxmlformats.org/officeDocument/2006/relationships/slideLayout" Target="../slideLayouts/slideLayout485.xml"/><Relationship Id="rId49" Type="http://schemas.openxmlformats.org/officeDocument/2006/relationships/slideLayout" Target="../slideLayouts/slideLayout498.xml"/><Relationship Id="rId57" Type="http://schemas.openxmlformats.org/officeDocument/2006/relationships/slideLayout" Target="../slideLayouts/slideLayout506.xml"/><Relationship Id="rId10" Type="http://schemas.openxmlformats.org/officeDocument/2006/relationships/slideLayout" Target="../slideLayouts/slideLayout459.xml"/><Relationship Id="rId19" Type="http://schemas.openxmlformats.org/officeDocument/2006/relationships/slideLayout" Target="../slideLayouts/slideLayout468.xml"/><Relationship Id="rId31" Type="http://schemas.openxmlformats.org/officeDocument/2006/relationships/slideLayout" Target="../slideLayouts/slideLayout480.xml"/><Relationship Id="rId44" Type="http://schemas.openxmlformats.org/officeDocument/2006/relationships/slideLayout" Target="../slideLayouts/slideLayout493.xml"/><Relationship Id="rId52" Type="http://schemas.openxmlformats.org/officeDocument/2006/relationships/slideLayout" Target="../slideLayouts/slideLayout501.xml"/><Relationship Id="rId4" Type="http://schemas.openxmlformats.org/officeDocument/2006/relationships/slideLayout" Target="../slideLayouts/slideLayout453.xml"/><Relationship Id="rId9" Type="http://schemas.openxmlformats.org/officeDocument/2006/relationships/slideLayout" Target="../slideLayouts/slideLayout458.xml"/><Relationship Id="rId14" Type="http://schemas.openxmlformats.org/officeDocument/2006/relationships/slideLayout" Target="../slideLayouts/slideLayout463.xml"/><Relationship Id="rId22" Type="http://schemas.openxmlformats.org/officeDocument/2006/relationships/slideLayout" Target="../slideLayouts/slideLayout471.xml"/><Relationship Id="rId27" Type="http://schemas.openxmlformats.org/officeDocument/2006/relationships/slideLayout" Target="../slideLayouts/slideLayout476.xml"/><Relationship Id="rId30" Type="http://schemas.openxmlformats.org/officeDocument/2006/relationships/slideLayout" Target="../slideLayouts/slideLayout479.xml"/><Relationship Id="rId35" Type="http://schemas.openxmlformats.org/officeDocument/2006/relationships/slideLayout" Target="../slideLayouts/slideLayout484.xml"/><Relationship Id="rId43" Type="http://schemas.openxmlformats.org/officeDocument/2006/relationships/slideLayout" Target="../slideLayouts/slideLayout492.xml"/><Relationship Id="rId48" Type="http://schemas.openxmlformats.org/officeDocument/2006/relationships/slideLayout" Target="../slideLayouts/slideLayout497.xml"/><Relationship Id="rId56" Type="http://schemas.openxmlformats.org/officeDocument/2006/relationships/slideLayout" Target="../slideLayouts/slideLayout505.xml"/><Relationship Id="rId8" Type="http://schemas.openxmlformats.org/officeDocument/2006/relationships/slideLayout" Target="../slideLayouts/slideLayout457.xml"/><Relationship Id="rId51" Type="http://schemas.openxmlformats.org/officeDocument/2006/relationships/slideLayout" Target="../slideLayouts/slideLayout500.xml"/><Relationship Id="rId3" Type="http://schemas.openxmlformats.org/officeDocument/2006/relationships/slideLayout" Target="../slideLayouts/slideLayout45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4.xml"/><Relationship Id="rId13" Type="http://schemas.openxmlformats.org/officeDocument/2006/relationships/slideLayout" Target="../slideLayouts/slideLayout519.xml"/><Relationship Id="rId18" Type="http://schemas.openxmlformats.org/officeDocument/2006/relationships/slideLayout" Target="../slideLayouts/slideLayout524.xml"/><Relationship Id="rId26" Type="http://schemas.openxmlformats.org/officeDocument/2006/relationships/slideLayout" Target="../slideLayouts/slideLayout532.xml"/><Relationship Id="rId3" Type="http://schemas.openxmlformats.org/officeDocument/2006/relationships/slideLayout" Target="../slideLayouts/slideLayout509.xml"/><Relationship Id="rId21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13.xml"/><Relationship Id="rId12" Type="http://schemas.openxmlformats.org/officeDocument/2006/relationships/slideLayout" Target="../slideLayouts/slideLayout518.xml"/><Relationship Id="rId17" Type="http://schemas.openxmlformats.org/officeDocument/2006/relationships/slideLayout" Target="../slideLayouts/slideLayout523.xml"/><Relationship Id="rId25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522.xml"/><Relationship Id="rId20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12.xml"/><Relationship Id="rId11" Type="http://schemas.openxmlformats.org/officeDocument/2006/relationships/slideLayout" Target="../slideLayouts/slideLayout517.xml"/><Relationship Id="rId24" Type="http://schemas.openxmlformats.org/officeDocument/2006/relationships/slideLayout" Target="../slideLayouts/slideLayout530.xml"/><Relationship Id="rId5" Type="http://schemas.openxmlformats.org/officeDocument/2006/relationships/slideLayout" Target="../slideLayouts/slideLayout511.xml"/><Relationship Id="rId15" Type="http://schemas.openxmlformats.org/officeDocument/2006/relationships/slideLayout" Target="../slideLayouts/slideLayout521.xml"/><Relationship Id="rId23" Type="http://schemas.openxmlformats.org/officeDocument/2006/relationships/slideLayout" Target="../slideLayouts/slideLayout529.xml"/><Relationship Id="rId28" Type="http://schemas.openxmlformats.org/officeDocument/2006/relationships/theme" Target="../theme/theme12.xml"/><Relationship Id="rId10" Type="http://schemas.openxmlformats.org/officeDocument/2006/relationships/slideLayout" Target="../slideLayouts/slideLayout516.xml"/><Relationship Id="rId19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5.xml"/><Relationship Id="rId14" Type="http://schemas.openxmlformats.org/officeDocument/2006/relationships/slideLayout" Target="../slideLayouts/slideLayout520.xml"/><Relationship Id="rId22" Type="http://schemas.openxmlformats.org/officeDocument/2006/relationships/slideLayout" Target="../slideLayouts/slideLayout528.xml"/><Relationship Id="rId27" Type="http://schemas.openxmlformats.org/officeDocument/2006/relationships/slideLayout" Target="../slideLayouts/slideLayout533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6.xml"/><Relationship Id="rId18" Type="http://schemas.openxmlformats.org/officeDocument/2006/relationships/slideLayout" Target="../slideLayouts/slideLayout551.xml"/><Relationship Id="rId26" Type="http://schemas.openxmlformats.org/officeDocument/2006/relationships/slideLayout" Target="../slideLayouts/slideLayout559.xml"/><Relationship Id="rId39" Type="http://schemas.openxmlformats.org/officeDocument/2006/relationships/slideLayout" Target="../slideLayouts/slideLayout572.xml"/><Relationship Id="rId21" Type="http://schemas.openxmlformats.org/officeDocument/2006/relationships/slideLayout" Target="../slideLayouts/slideLayout554.xml"/><Relationship Id="rId34" Type="http://schemas.openxmlformats.org/officeDocument/2006/relationships/slideLayout" Target="../slideLayouts/slideLayout567.xml"/><Relationship Id="rId42" Type="http://schemas.openxmlformats.org/officeDocument/2006/relationships/slideLayout" Target="../slideLayouts/slideLayout575.xml"/><Relationship Id="rId47" Type="http://schemas.openxmlformats.org/officeDocument/2006/relationships/slideLayout" Target="../slideLayouts/slideLayout580.xml"/><Relationship Id="rId50" Type="http://schemas.openxmlformats.org/officeDocument/2006/relationships/slideLayout" Target="../slideLayouts/slideLayout583.xml"/><Relationship Id="rId55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40.xml"/><Relationship Id="rId12" Type="http://schemas.openxmlformats.org/officeDocument/2006/relationships/slideLayout" Target="../slideLayouts/slideLayout545.xml"/><Relationship Id="rId17" Type="http://schemas.openxmlformats.org/officeDocument/2006/relationships/slideLayout" Target="../slideLayouts/slideLayout550.xml"/><Relationship Id="rId25" Type="http://schemas.openxmlformats.org/officeDocument/2006/relationships/slideLayout" Target="../slideLayouts/slideLayout558.xml"/><Relationship Id="rId33" Type="http://schemas.openxmlformats.org/officeDocument/2006/relationships/slideLayout" Target="../slideLayouts/slideLayout566.xml"/><Relationship Id="rId38" Type="http://schemas.openxmlformats.org/officeDocument/2006/relationships/slideLayout" Target="../slideLayouts/slideLayout571.xml"/><Relationship Id="rId46" Type="http://schemas.openxmlformats.org/officeDocument/2006/relationships/slideLayout" Target="../slideLayouts/slideLayout579.xml"/><Relationship Id="rId2" Type="http://schemas.openxmlformats.org/officeDocument/2006/relationships/slideLayout" Target="../slideLayouts/slideLayout535.xml"/><Relationship Id="rId16" Type="http://schemas.openxmlformats.org/officeDocument/2006/relationships/slideLayout" Target="../slideLayouts/slideLayout549.xml"/><Relationship Id="rId20" Type="http://schemas.openxmlformats.org/officeDocument/2006/relationships/slideLayout" Target="../slideLayouts/slideLayout553.xml"/><Relationship Id="rId29" Type="http://schemas.openxmlformats.org/officeDocument/2006/relationships/slideLayout" Target="../slideLayouts/slideLayout562.xml"/><Relationship Id="rId41" Type="http://schemas.openxmlformats.org/officeDocument/2006/relationships/slideLayout" Target="../slideLayouts/slideLayout574.xml"/><Relationship Id="rId54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34.xml"/><Relationship Id="rId6" Type="http://schemas.openxmlformats.org/officeDocument/2006/relationships/slideLayout" Target="../slideLayouts/slideLayout539.xml"/><Relationship Id="rId11" Type="http://schemas.openxmlformats.org/officeDocument/2006/relationships/slideLayout" Target="../slideLayouts/slideLayout544.xml"/><Relationship Id="rId24" Type="http://schemas.openxmlformats.org/officeDocument/2006/relationships/slideLayout" Target="../slideLayouts/slideLayout557.xml"/><Relationship Id="rId32" Type="http://schemas.openxmlformats.org/officeDocument/2006/relationships/slideLayout" Target="../slideLayouts/slideLayout565.xml"/><Relationship Id="rId37" Type="http://schemas.openxmlformats.org/officeDocument/2006/relationships/slideLayout" Target="../slideLayouts/slideLayout570.xml"/><Relationship Id="rId40" Type="http://schemas.openxmlformats.org/officeDocument/2006/relationships/slideLayout" Target="../slideLayouts/slideLayout573.xml"/><Relationship Id="rId45" Type="http://schemas.openxmlformats.org/officeDocument/2006/relationships/slideLayout" Target="../slideLayouts/slideLayout578.xml"/><Relationship Id="rId53" Type="http://schemas.openxmlformats.org/officeDocument/2006/relationships/slideLayout" Target="../slideLayouts/slideLayout586.xml"/><Relationship Id="rId58" Type="http://schemas.openxmlformats.org/officeDocument/2006/relationships/theme" Target="../theme/theme13.xml"/><Relationship Id="rId5" Type="http://schemas.openxmlformats.org/officeDocument/2006/relationships/slideLayout" Target="../slideLayouts/slideLayout538.xml"/><Relationship Id="rId15" Type="http://schemas.openxmlformats.org/officeDocument/2006/relationships/slideLayout" Target="../slideLayouts/slideLayout548.xml"/><Relationship Id="rId23" Type="http://schemas.openxmlformats.org/officeDocument/2006/relationships/slideLayout" Target="../slideLayouts/slideLayout556.xml"/><Relationship Id="rId28" Type="http://schemas.openxmlformats.org/officeDocument/2006/relationships/slideLayout" Target="../slideLayouts/slideLayout561.xml"/><Relationship Id="rId36" Type="http://schemas.openxmlformats.org/officeDocument/2006/relationships/slideLayout" Target="../slideLayouts/slideLayout569.xml"/><Relationship Id="rId49" Type="http://schemas.openxmlformats.org/officeDocument/2006/relationships/slideLayout" Target="../slideLayouts/slideLayout582.xml"/><Relationship Id="rId57" Type="http://schemas.openxmlformats.org/officeDocument/2006/relationships/slideLayout" Target="../slideLayouts/slideLayout590.xml"/><Relationship Id="rId10" Type="http://schemas.openxmlformats.org/officeDocument/2006/relationships/slideLayout" Target="../slideLayouts/slideLayout543.xml"/><Relationship Id="rId19" Type="http://schemas.openxmlformats.org/officeDocument/2006/relationships/slideLayout" Target="../slideLayouts/slideLayout552.xml"/><Relationship Id="rId31" Type="http://schemas.openxmlformats.org/officeDocument/2006/relationships/slideLayout" Target="../slideLayouts/slideLayout564.xml"/><Relationship Id="rId44" Type="http://schemas.openxmlformats.org/officeDocument/2006/relationships/slideLayout" Target="../slideLayouts/slideLayout577.xml"/><Relationship Id="rId52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37.xml"/><Relationship Id="rId9" Type="http://schemas.openxmlformats.org/officeDocument/2006/relationships/slideLayout" Target="../slideLayouts/slideLayout542.xml"/><Relationship Id="rId14" Type="http://schemas.openxmlformats.org/officeDocument/2006/relationships/slideLayout" Target="../slideLayouts/slideLayout547.xml"/><Relationship Id="rId22" Type="http://schemas.openxmlformats.org/officeDocument/2006/relationships/slideLayout" Target="../slideLayouts/slideLayout555.xml"/><Relationship Id="rId27" Type="http://schemas.openxmlformats.org/officeDocument/2006/relationships/slideLayout" Target="../slideLayouts/slideLayout560.xml"/><Relationship Id="rId30" Type="http://schemas.openxmlformats.org/officeDocument/2006/relationships/slideLayout" Target="../slideLayouts/slideLayout563.xml"/><Relationship Id="rId35" Type="http://schemas.openxmlformats.org/officeDocument/2006/relationships/slideLayout" Target="../slideLayouts/slideLayout568.xml"/><Relationship Id="rId43" Type="http://schemas.openxmlformats.org/officeDocument/2006/relationships/slideLayout" Target="../slideLayouts/slideLayout576.xml"/><Relationship Id="rId48" Type="http://schemas.openxmlformats.org/officeDocument/2006/relationships/slideLayout" Target="../slideLayouts/slideLayout581.xml"/><Relationship Id="rId56" Type="http://schemas.openxmlformats.org/officeDocument/2006/relationships/slideLayout" Target="../slideLayouts/slideLayout589.xml"/><Relationship Id="rId8" Type="http://schemas.openxmlformats.org/officeDocument/2006/relationships/slideLayout" Target="../slideLayouts/slideLayout541.xml"/><Relationship Id="rId51" Type="http://schemas.openxmlformats.org/officeDocument/2006/relationships/slideLayout" Target="../slideLayouts/slideLayout584.xml"/><Relationship Id="rId3" Type="http://schemas.openxmlformats.org/officeDocument/2006/relationships/slideLayout" Target="../slideLayouts/slideLayout536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3.xml"/><Relationship Id="rId18" Type="http://schemas.openxmlformats.org/officeDocument/2006/relationships/slideLayout" Target="../slideLayouts/slideLayout608.xml"/><Relationship Id="rId26" Type="http://schemas.openxmlformats.org/officeDocument/2006/relationships/slideLayout" Target="../slideLayouts/slideLayout616.xml"/><Relationship Id="rId39" Type="http://schemas.openxmlformats.org/officeDocument/2006/relationships/slideLayout" Target="../slideLayouts/slideLayout629.xml"/><Relationship Id="rId3" Type="http://schemas.openxmlformats.org/officeDocument/2006/relationships/slideLayout" Target="../slideLayouts/slideLayout593.xml"/><Relationship Id="rId21" Type="http://schemas.openxmlformats.org/officeDocument/2006/relationships/slideLayout" Target="../slideLayouts/slideLayout611.xml"/><Relationship Id="rId34" Type="http://schemas.openxmlformats.org/officeDocument/2006/relationships/slideLayout" Target="../slideLayouts/slideLayout624.xml"/><Relationship Id="rId42" Type="http://schemas.openxmlformats.org/officeDocument/2006/relationships/slideLayout" Target="../slideLayouts/slideLayout632.xml"/><Relationship Id="rId47" Type="http://schemas.openxmlformats.org/officeDocument/2006/relationships/slideLayout" Target="../slideLayouts/slideLayout637.xml"/><Relationship Id="rId50" Type="http://schemas.openxmlformats.org/officeDocument/2006/relationships/slideLayout" Target="../slideLayouts/slideLayout640.xml"/><Relationship Id="rId7" Type="http://schemas.openxmlformats.org/officeDocument/2006/relationships/slideLayout" Target="../slideLayouts/slideLayout597.xml"/><Relationship Id="rId12" Type="http://schemas.openxmlformats.org/officeDocument/2006/relationships/slideLayout" Target="../slideLayouts/slideLayout602.xml"/><Relationship Id="rId17" Type="http://schemas.openxmlformats.org/officeDocument/2006/relationships/slideLayout" Target="../slideLayouts/slideLayout607.xml"/><Relationship Id="rId25" Type="http://schemas.openxmlformats.org/officeDocument/2006/relationships/slideLayout" Target="../slideLayouts/slideLayout615.xml"/><Relationship Id="rId33" Type="http://schemas.openxmlformats.org/officeDocument/2006/relationships/slideLayout" Target="../slideLayouts/slideLayout623.xml"/><Relationship Id="rId38" Type="http://schemas.openxmlformats.org/officeDocument/2006/relationships/slideLayout" Target="../slideLayouts/slideLayout628.xml"/><Relationship Id="rId46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592.xml"/><Relationship Id="rId16" Type="http://schemas.openxmlformats.org/officeDocument/2006/relationships/slideLayout" Target="../slideLayouts/slideLayout606.xml"/><Relationship Id="rId20" Type="http://schemas.openxmlformats.org/officeDocument/2006/relationships/slideLayout" Target="../slideLayouts/slideLayout610.xml"/><Relationship Id="rId29" Type="http://schemas.openxmlformats.org/officeDocument/2006/relationships/slideLayout" Target="../slideLayouts/slideLayout619.xml"/><Relationship Id="rId41" Type="http://schemas.openxmlformats.org/officeDocument/2006/relationships/slideLayout" Target="../slideLayouts/slideLayout631.xml"/><Relationship Id="rId1" Type="http://schemas.openxmlformats.org/officeDocument/2006/relationships/slideLayout" Target="../slideLayouts/slideLayout591.xml"/><Relationship Id="rId6" Type="http://schemas.openxmlformats.org/officeDocument/2006/relationships/slideLayout" Target="../slideLayouts/slideLayout596.xml"/><Relationship Id="rId11" Type="http://schemas.openxmlformats.org/officeDocument/2006/relationships/slideLayout" Target="../slideLayouts/slideLayout601.xml"/><Relationship Id="rId24" Type="http://schemas.openxmlformats.org/officeDocument/2006/relationships/slideLayout" Target="../slideLayouts/slideLayout614.xml"/><Relationship Id="rId32" Type="http://schemas.openxmlformats.org/officeDocument/2006/relationships/slideLayout" Target="../slideLayouts/slideLayout622.xml"/><Relationship Id="rId37" Type="http://schemas.openxmlformats.org/officeDocument/2006/relationships/slideLayout" Target="../slideLayouts/slideLayout627.xml"/><Relationship Id="rId40" Type="http://schemas.openxmlformats.org/officeDocument/2006/relationships/slideLayout" Target="../slideLayouts/slideLayout630.xml"/><Relationship Id="rId45" Type="http://schemas.openxmlformats.org/officeDocument/2006/relationships/slideLayout" Target="../slideLayouts/slideLayout635.xml"/><Relationship Id="rId5" Type="http://schemas.openxmlformats.org/officeDocument/2006/relationships/slideLayout" Target="../slideLayouts/slideLayout595.xml"/><Relationship Id="rId15" Type="http://schemas.openxmlformats.org/officeDocument/2006/relationships/slideLayout" Target="../slideLayouts/slideLayout605.xml"/><Relationship Id="rId23" Type="http://schemas.openxmlformats.org/officeDocument/2006/relationships/slideLayout" Target="../slideLayouts/slideLayout613.xml"/><Relationship Id="rId28" Type="http://schemas.openxmlformats.org/officeDocument/2006/relationships/slideLayout" Target="../slideLayouts/slideLayout618.xml"/><Relationship Id="rId36" Type="http://schemas.openxmlformats.org/officeDocument/2006/relationships/slideLayout" Target="../slideLayouts/slideLayout626.xml"/><Relationship Id="rId49" Type="http://schemas.openxmlformats.org/officeDocument/2006/relationships/slideLayout" Target="../slideLayouts/slideLayout639.xml"/><Relationship Id="rId10" Type="http://schemas.openxmlformats.org/officeDocument/2006/relationships/slideLayout" Target="../slideLayouts/slideLayout600.xml"/><Relationship Id="rId19" Type="http://schemas.openxmlformats.org/officeDocument/2006/relationships/slideLayout" Target="../slideLayouts/slideLayout609.xml"/><Relationship Id="rId31" Type="http://schemas.openxmlformats.org/officeDocument/2006/relationships/slideLayout" Target="../slideLayouts/slideLayout621.xml"/><Relationship Id="rId44" Type="http://schemas.openxmlformats.org/officeDocument/2006/relationships/slideLayout" Target="../slideLayouts/slideLayout634.xml"/><Relationship Id="rId52" Type="http://schemas.openxmlformats.org/officeDocument/2006/relationships/theme" Target="../theme/theme14.xml"/><Relationship Id="rId4" Type="http://schemas.openxmlformats.org/officeDocument/2006/relationships/slideLayout" Target="../slideLayouts/slideLayout594.xml"/><Relationship Id="rId9" Type="http://schemas.openxmlformats.org/officeDocument/2006/relationships/slideLayout" Target="../slideLayouts/slideLayout599.xml"/><Relationship Id="rId14" Type="http://schemas.openxmlformats.org/officeDocument/2006/relationships/slideLayout" Target="../slideLayouts/slideLayout604.xml"/><Relationship Id="rId22" Type="http://schemas.openxmlformats.org/officeDocument/2006/relationships/slideLayout" Target="../slideLayouts/slideLayout612.xml"/><Relationship Id="rId27" Type="http://schemas.openxmlformats.org/officeDocument/2006/relationships/slideLayout" Target="../slideLayouts/slideLayout617.xml"/><Relationship Id="rId30" Type="http://schemas.openxmlformats.org/officeDocument/2006/relationships/slideLayout" Target="../slideLayouts/slideLayout620.xml"/><Relationship Id="rId35" Type="http://schemas.openxmlformats.org/officeDocument/2006/relationships/slideLayout" Target="../slideLayouts/slideLayout625.xml"/><Relationship Id="rId43" Type="http://schemas.openxmlformats.org/officeDocument/2006/relationships/slideLayout" Target="../slideLayouts/slideLayout633.xml"/><Relationship Id="rId48" Type="http://schemas.openxmlformats.org/officeDocument/2006/relationships/slideLayout" Target="../slideLayouts/slideLayout638.xml"/><Relationship Id="rId8" Type="http://schemas.openxmlformats.org/officeDocument/2006/relationships/slideLayout" Target="../slideLayouts/slideLayout598.xml"/><Relationship Id="rId51" Type="http://schemas.openxmlformats.org/officeDocument/2006/relationships/slideLayout" Target="../slideLayouts/slideLayout641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4.xml"/><Relationship Id="rId18" Type="http://schemas.openxmlformats.org/officeDocument/2006/relationships/slideLayout" Target="../slideLayouts/slideLayout659.xml"/><Relationship Id="rId26" Type="http://schemas.openxmlformats.org/officeDocument/2006/relationships/slideLayout" Target="../slideLayouts/slideLayout667.xml"/><Relationship Id="rId39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44.xml"/><Relationship Id="rId21" Type="http://schemas.openxmlformats.org/officeDocument/2006/relationships/slideLayout" Target="../slideLayouts/slideLayout662.xml"/><Relationship Id="rId34" Type="http://schemas.openxmlformats.org/officeDocument/2006/relationships/slideLayout" Target="../slideLayouts/slideLayout675.xml"/><Relationship Id="rId42" Type="http://schemas.openxmlformats.org/officeDocument/2006/relationships/slideLayout" Target="../slideLayouts/slideLayout683.xml"/><Relationship Id="rId47" Type="http://schemas.openxmlformats.org/officeDocument/2006/relationships/slideLayout" Target="../slideLayouts/slideLayout688.xml"/><Relationship Id="rId50" Type="http://schemas.openxmlformats.org/officeDocument/2006/relationships/slideLayout" Target="../slideLayouts/slideLayout691.xml"/><Relationship Id="rId7" Type="http://schemas.openxmlformats.org/officeDocument/2006/relationships/slideLayout" Target="../slideLayouts/slideLayout648.xml"/><Relationship Id="rId12" Type="http://schemas.openxmlformats.org/officeDocument/2006/relationships/slideLayout" Target="../slideLayouts/slideLayout653.xml"/><Relationship Id="rId17" Type="http://schemas.openxmlformats.org/officeDocument/2006/relationships/slideLayout" Target="../slideLayouts/slideLayout658.xml"/><Relationship Id="rId25" Type="http://schemas.openxmlformats.org/officeDocument/2006/relationships/slideLayout" Target="../slideLayouts/slideLayout666.xml"/><Relationship Id="rId33" Type="http://schemas.openxmlformats.org/officeDocument/2006/relationships/slideLayout" Target="../slideLayouts/slideLayout674.xml"/><Relationship Id="rId38" Type="http://schemas.openxmlformats.org/officeDocument/2006/relationships/slideLayout" Target="../slideLayouts/slideLayout679.xml"/><Relationship Id="rId46" Type="http://schemas.openxmlformats.org/officeDocument/2006/relationships/slideLayout" Target="../slideLayouts/slideLayout687.xml"/><Relationship Id="rId2" Type="http://schemas.openxmlformats.org/officeDocument/2006/relationships/slideLayout" Target="../slideLayouts/slideLayout643.xml"/><Relationship Id="rId16" Type="http://schemas.openxmlformats.org/officeDocument/2006/relationships/slideLayout" Target="../slideLayouts/slideLayout657.xml"/><Relationship Id="rId20" Type="http://schemas.openxmlformats.org/officeDocument/2006/relationships/slideLayout" Target="../slideLayouts/slideLayout661.xml"/><Relationship Id="rId29" Type="http://schemas.openxmlformats.org/officeDocument/2006/relationships/slideLayout" Target="../slideLayouts/slideLayout670.xml"/><Relationship Id="rId41" Type="http://schemas.openxmlformats.org/officeDocument/2006/relationships/slideLayout" Target="../slideLayouts/slideLayout682.xml"/><Relationship Id="rId1" Type="http://schemas.openxmlformats.org/officeDocument/2006/relationships/slideLayout" Target="../slideLayouts/slideLayout642.xml"/><Relationship Id="rId6" Type="http://schemas.openxmlformats.org/officeDocument/2006/relationships/slideLayout" Target="../slideLayouts/slideLayout647.xml"/><Relationship Id="rId11" Type="http://schemas.openxmlformats.org/officeDocument/2006/relationships/slideLayout" Target="../slideLayouts/slideLayout652.xml"/><Relationship Id="rId24" Type="http://schemas.openxmlformats.org/officeDocument/2006/relationships/slideLayout" Target="../slideLayouts/slideLayout665.xml"/><Relationship Id="rId32" Type="http://schemas.openxmlformats.org/officeDocument/2006/relationships/slideLayout" Target="../slideLayouts/slideLayout673.xml"/><Relationship Id="rId37" Type="http://schemas.openxmlformats.org/officeDocument/2006/relationships/slideLayout" Target="../slideLayouts/slideLayout678.xml"/><Relationship Id="rId40" Type="http://schemas.openxmlformats.org/officeDocument/2006/relationships/slideLayout" Target="../slideLayouts/slideLayout681.xml"/><Relationship Id="rId45" Type="http://schemas.openxmlformats.org/officeDocument/2006/relationships/slideLayout" Target="../slideLayouts/slideLayout686.xml"/><Relationship Id="rId5" Type="http://schemas.openxmlformats.org/officeDocument/2006/relationships/slideLayout" Target="../slideLayouts/slideLayout646.xml"/><Relationship Id="rId15" Type="http://schemas.openxmlformats.org/officeDocument/2006/relationships/slideLayout" Target="../slideLayouts/slideLayout656.xml"/><Relationship Id="rId23" Type="http://schemas.openxmlformats.org/officeDocument/2006/relationships/slideLayout" Target="../slideLayouts/slideLayout664.xml"/><Relationship Id="rId28" Type="http://schemas.openxmlformats.org/officeDocument/2006/relationships/slideLayout" Target="../slideLayouts/slideLayout669.xml"/><Relationship Id="rId36" Type="http://schemas.openxmlformats.org/officeDocument/2006/relationships/slideLayout" Target="../slideLayouts/slideLayout677.xml"/><Relationship Id="rId49" Type="http://schemas.openxmlformats.org/officeDocument/2006/relationships/slideLayout" Target="../slideLayouts/slideLayout690.xml"/><Relationship Id="rId10" Type="http://schemas.openxmlformats.org/officeDocument/2006/relationships/slideLayout" Target="../slideLayouts/slideLayout651.xml"/><Relationship Id="rId19" Type="http://schemas.openxmlformats.org/officeDocument/2006/relationships/slideLayout" Target="../slideLayouts/slideLayout660.xml"/><Relationship Id="rId31" Type="http://schemas.openxmlformats.org/officeDocument/2006/relationships/slideLayout" Target="../slideLayouts/slideLayout672.xml"/><Relationship Id="rId44" Type="http://schemas.openxmlformats.org/officeDocument/2006/relationships/slideLayout" Target="../slideLayouts/slideLayout685.xml"/><Relationship Id="rId52" Type="http://schemas.openxmlformats.org/officeDocument/2006/relationships/theme" Target="../theme/theme15.xml"/><Relationship Id="rId4" Type="http://schemas.openxmlformats.org/officeDocument/2006/relationships/slideLayout" Target="../slideLayouts/slideLayout645.xml"/><Relationship Id="rId9" Type="http://schemas.openxmlformats.org/officeDocument/2006/relationships/slideLayout" Target="../slideLayouts/slideLayout650.xml"/><Relationship Id="rId14" Type="http://schemas.openxmlformats.org/officeDocument/2006/relationships/slideLayout" Target="../slideLayouts/slideLayout655.xml"/><Relationship Id="rId22" Type="http://schemas.openxmlformats.org/officeDocument/2006/relationships/slideLayout" Target="../slideLayouts/slideLayout663.xml"/><Relationship Id="rId27" Type="http://schemas.openxmlformats.org/officeDocument/2006/relationships/slideLayout" Target="../slideLayouts/slideLayout668.xml"/><Relationship Id="rId30" Type="http://schemas.openxmlformats.org/officeDocument/2006/relationships/slideLayout" Target="../slideLayouts/slideLayout671.xml"/><Relationship Id="rId35" Type="http://schemas.openxmlformats.org/officeDocument/2006/relationships/slideLayout" Target="../slideLayouts/slideLayout676.xml"/><Relationship Id="rId43" Type="http://schemas.openxmlformats.org/officeDocument/2006/relationships/slideLayout" Target="../slideLayouts/slideLayout684.xml"/><Relationship Id="rId48" Type="http://schemas.openxmlformats.org/officeDocument/2006/relationships/slideLayout" Target="../slideLayouts/slideLayout689.xml"/><Relationship Id="rId8" Type="http://schemas.openxmlformats.org/officeDocument/2006/relationships/slideLayout" Target="../slideLayouts/slideLayout649.xml"/><Relationship Id="rId51" Type="http://schemas.openxmlformats.org/officeDocument/2006/relationships/slideLayout" Target="../slideLayouts/slideLayout692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5.xml"/><Relationship Id="rId18" Type="http://schemas.openxmlformats.org/officeDocument/2006/relationships/slideLayout" Target="../slideLayouts/slideLayout710.xml"/><Relationship Id="rId26" Type="http://schemas.openxmlformats.org/officeDocument/2006/relationships/slideLayout" Target="../slideLayouts/slideLayout718.xml"/><Relationship Id="rId39" Type="http://schemas.openxmlformats.org/officeDocument/2006/relationships/slideLayout" Target="../slideLayouts/slideLayout731.xml"/><Relationship Id="rId3" Type="http://schemas.openxmlformats.org/officeDocument/2006/relationships/slideLayout" Target="../slideLayouts/slideLayout695.xml"/><Relationship Id="rId21" Type="http://schemas.openxmlformats.org/officeDocument/2006/relationships/slideLayout" Target="../slideLayouts/slideLayout713.xml"/><Relationship Id="rId34" Type="http://schemas.openxmlformats.org/officeDocument/2006/relationships/slideLayout" Target="../slideLayouts/slideLayout726.xml"/><Relationship Id="rId42" Type="http://schemas.openxmlformats.org/officeDocument/2006/relationships/slideLayout" Target="../slideLayouts/slideLayout734.xml"/><Relationship Id="rId47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699.xml"/><Relationship Id="rId12" Type="http://schemas.openxmlformats.org/officeDocument/2006/relationships/slideLayout" Target="../slideLayouts/slideLayout704.xml"/><Relationship Id="rId17" Type="http://schemas.openxmlformats.org/officeDocument/2006/relationships/slideLayout" Target="../slideLayouts/slideLayout709.xml"/><Relationship Id="rId25" Type="http://schemas.openxmlformats.org/officeDocument/2006/relationships/slideLayout" Target="../slideLayouts/slideLayout717.xml"/><Relationship Id="rId33" Type="http://schemas.openxmlformats.org/officeDocument/2006/relationships/slideLayout" Target="../slideLayouts/slideLayout725.xml"/><Relationship Id="rId38" Type="http://schemas.openxmlformats.org/officeDocument/2006/relationships/slideLayout" Target="../slideLayouts/slideLayout730.xml"/><Relationship Id="rId46" Type="http://schemas.openxmlformats.org/officeDocument/2006/relationships/slideLayout" Target="../slideLayouts/slideLayout738.xml"/><Relationship Id="rId2" Type="http://schemas.openxmlformats.org/officeDocument/2006/relationships/slideLayout" Target="../slideLayouts/slideLayout694.xml"/><Relationship Id="rId16" Type="http://schemas.openxmlformats.org/officeDocument/2006/relationships/slideLayout" Target="../slideLayouts/slideLayout708.xml"/><Relationship Id="rId20" Type="http://schemas.openxmlformats.org/officeDocument/2006/relationships/slideLayout" Target="../slideLayouts/slideLayout712.xml"/><Relationship Id="rId29" Type="http://schemas.openxmlformats.org/officeDocument/2006/relationships/slideLayout" Target="../slideLayouts/slideLayout721.xml"/><Relationship Id="rId41" Type="http://schemas.openxmlformats.org/officeDocument/2006/relationships/slideLayout" Target="../slideLayouts/slideLayout733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slideLayout" Target="../slideLayouts/slideLayout703.xml"/><Relationship Id="rId24" Type="http://schemas.openxmlformats.org/officeDocument/2006/relationships/slideLayout" Target="../slideLayouts/slideLayout716.xml"/><Relationship Id="rId32" Type="http://schemas.openxmlformats.org/officeDocument/2006/relationships/slideLayout" Target="../slideLayouts/slideLayout724.xml"/><Relationship Id="rId37" Type="http://schemas.openxmlformats.org/officeDocument/2006/relationships/slideLayout" Target="../slideLayouts/slideLayout729.xml"/><Relationship Id="rId40" Type="http://schemas.openxmlformats.org/officeDocument/2006/relationships/slideLayout" Target="../slideLayouts/slideLayout732.xml"/><Relationship Id="rId45" Type="http://schemas.openxmlformats.org/officeDocument/2006/relationships/slideLayout" Target="../slideLayouts/slideLayout737.xml"/><Relationship Id="rId5" Type="http://schemas.openxmlformats.org/officeDocument/2006/relationships/slideLayout" Target="../slideLayouts/slideLayout697.xml"/><Relationship Id="rId15" Type="http://schemas.openxmlformats.org/officeDocument/2006/relationships/slideLayout" Target="../slideLayouts/slideLayout707.xml"/><Relationship Id="rId23" Type="http://schemas.openxmlformats.org/officeDocument/2006/relationships/slideLayout" Target="../slideLayouts/slideLayout715.xml"/><Relationship Id="rId28" Type="http://schemas.openxmlformats.org/officeDocument/2006/relationships/slideLayout" Target="../slideLayouts/slideLayout720.xml"/><Relationship Id="rId36" Type="http://schemas.openxmlformats.org/officeDocument/2006/relationships/slideLayout" Target="../slideLayouts/slideLayout728.xml"/><Relationship Id="rId49" Type="http://schemas.openxmlformats.org/officeDocument/2006/relationships/theme" Target="../theme/theme16.xml"/><Relationship Id="rId10" Type="http://schemas.openxmlformats.org/officeDocument/2006/relationships/slideLayout" Target="../slideLayouts/slideLayout702.xml"/><Relationship Id="rId19" Type="http://schemas.openxmlformats.org/officeDocument/2006/relationships/slideLayout" Target="../slideLayouts/slideLayout711.xml"/><Relationship Id="rId31" Type="http://schemas.openxmlformats.org/officeDocument/2006/relationships/slideLayout" Target="../slideLayouts/slideLayout723.xml"/><Relationship Id="rId44" Type="http://schemas.openxmlformats.org/officeDocument/2006/relationships/slideLayout" Target="../slideLayouts/slideLayout736.xml"/><Relationship Id="rId4" Type="http://schemas.openxmlformats.org/officeDocument/2006/relationships/slideLayout" Target="../slideLayouts/slideLayout696.xml"/><Relationship Id="rId9" Type="http://schemas.openxmlformats.org/officeDocument/2006/relationships/slideLayout" Target="../slideLayouts/slideLayout701.xml"/><Relationship Id="rId14" Type="http://schemas.openxmlformats.org/officeDocument/2006/relationships/slideLayout" Target="../slideLayouts/slideLayout706.xml"/><Relationship Id="rId22" Type="http://schemas.openxmlformats.org/officeDocument/2006/relationships/slideLayout" Target="../slideLayouts/slideLayout714.xml"/><Relationship Id="rId27" Type="http://schemas.openxmlformats.org/officeDocument/2006/relationships/slideLayout" Target="../slideLayouts/slideLayout719.xml"/><Relationship Id="rId30" Type="http://schemas.openxmlformats.org/officeDocument/2006/relationships/slideLayout" Target="../slideLayouts/slideLayout722.xml"/><Relationship Id="rId35" Type="http://schemas.openxmlformats.org/officeDocument/2006/relationships/slideLayout" Target="../slideLayouts/slideLayout727.xml"/><Relationship Id="rId43" Type="http://schemas.openxmlformats.org/officeDocument/2006/relationships/slideLayout" Target="../slideLayouts/slideLayout735.xml"/><Relationship Id="rId48" Type="http://schemas.openxmlformats.org/officeDocument/2006/relationships/slideLayout" Target="../slideLayouts/slideLayout740.xml"/><Relationship Id="rId8" Type="http://schemas.openxmlformats.org/officeDocument/2006/relationships/slideLayout" Target="../slideLayouts/slideLayout70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8.xml"/><Relationship Id="rId13" Type="http://schemas.openxmlformats.org/officeDocument/2006/relationships/slideLayout" Target="../slideLayouts/slideLayout753.xml"/><Relationship Id="rId18" Type="http://schemas.openxmlformats.org/officeDocument/2006/relationships/slideLayout" Target="../slideLayouts/slideLayout758.xml"/><Relationship Id="rId26" Type="http://schemas.openxmlformats.org/officeDocument/2006/relationships/slideLayout" Target="../slideLayouts/slideLayout766.xml"/><Relationship Id="rId3" Type="http://schemas.openxmlformats.org/officeDocument/2006/relationships/slideLayout" Target="../slideLayouts/slideLayout743.xml"/><Relationship Id="rId21" Type="http://schemas.openxmlformats.org/officeDocument/2006/relationships/slideLayout" Target="../slideLayouts/slideLayout761.xml"/><Relationship Id="rId7" Type="http://schemas.openxmlformats.org/officeDocument/2006/relationships/slideLayout" Target="../slideLayouts/slideLayout747.xml"/><Relationship Id="rId12" Type="http://schemas.openxmlformats.org/officeDocument/2006/relationships/slideLayout" Target="../slideLayouts/slideLayout752.xml"/><Relationship Id="rId17" Type="http://schemas.openxmlformats.org/officeDocument/2006/relationships/slideLayout" Target="../slideLayouts/slideLayout757.xml"/><Relationship Id="rId25" Type="http://schemas.openxmlformats.org/officeDocument/2006/relationships/slideLayout" Target="../slideLayouts/slideLayout765.xml"/><Relationship Id="rId2" Type="http://schemas.openxmlformats.org/officeDocument/2006/relationships/slideLayout" Target="../slideLayouts/slideLayout742.xml"/><Relationship Id="rId16" Type="http://schemas.openxmlformats.org/officeDocument/2006/relationships/slideLayout" Target="../slideLayouts/slideLayout756.xml"/><Relationship Id="rId20" Type="http://schemas.openxmlformats.org/officeDocument/2006/relationships/slideLayout" Target="../slideLayouts/slideLayout760.xml"/><Relationship Id="rId29" Type="http://schemas.openxmlformats.org/officeDocument/2006/relationships/slideLayout" Target="../slideLayouts/slideLayout769.xml"/><Relationship Id="rId1" Type="http://schemas.openxmlformats.org/officeDocument/2006/relationships/slideLayout" Target="../slideLayouts/slideLayout741.xml"/><Relationship Id="rId6" Type="http://schemas.openxmlformats.org/officeDocument/2006/relationships/slideLayout" Target="../slideLayouts/slideLayout746.xml"/><Relationship Id="rId11" Type="http://schemas.openxmlformats.org/officeDocument/2006/relationships/slideLayout" Target="../slideLayouts/slideLayout751.xml"/><Relationship Id="rId24" Type="http://schemas.openxmlformats.org/officeDocument/2006/relationships/slideLayout" Target="../slideLayouts/slideLayout764.xml"/><Relationship Id="rId5" Type="http://schemas.openxmlformats.org/officeDocument/2006/relationships/slideLayout" Target="../slideLayouts/slideLayout745.xml"/><Relationship Id="rId15" Type="http://schemas.openxmlformats.org/officeDocument/2006/relationships/slideLayout" Target="../slideLayouts/slideLayout755.xml"/><Relationship Id="rId23" Type="http://schemas.openxmlformats.org/officeDocument/2006/relationships/slideLayout" Target="../slideLayouts/slideLayout763.xml"/><Relationship Id="rId28" Type="http://schemas.openxmlformats.org/officeDocument/2006/relationships/slideLayout" Target="../slideLayouts/slideLayout768.xml"/><Relationship Id="rId10" Type="http://schemas.openxmlformats.org/officeDocument/2006/relationships/slideLayout" Target="../slideLayouts/slideLayout750.xml"/><Relationship Id="rId19" Type="http://schemas.openxmlformats.org/officeDocument/2006/relationships/slideLayout" Target="../slideLayouts/slideLayout759.xml"/><Relationship Id="rId31" Type="http://schemas.openxmlformats.org/officeDocument/2006/relationships/theme" Target="../theme/theme17.xml"/><Relationship Id="rId4" Type="http://schemas.openxmlformats.org/officeDocument/2006/relationships/slideLayout" Target="../slideLayouts/slideLayout744.xml"/><Relationship Id="rId9" Type="http://schemas.openxmlformats.org/officeDocument/2006/relationships/slideLayout" Target="../slideLayouts/slideLayout749.xml"/><Relationship Id="rId14" Type="http://schemas.openxmlformats.org/officeDocument/2006/relationships/slideLayout" Target="../slideLayouts/slideLayout754.xml"/><Relationship Id="rId22" Type="http://schemas.openxmlformats.org/officeDocument/2006/relationships/slideLayout" Target="../slideLayouts/slideLayout762.xml"/><Relationship Id="rId27" Type="http://schemas.openxmlformats.org/officeDocument/2006/relationships/slideLayout" Target="../slideLayouts/slideLayout767.xml"/><Relationship Id="rId30" Type="http://schemas.openxmlformats.org/officeDocument/2006/relationships/slideLayout" Target="../slideLayouts/slideLayout770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3.xml"/><Relationship Id="rId18" Type="http://schemas.openxmlformats.org/officeDocument/2006/relationships/slideLayout" Target="../slideLayouts/slideLayout788.xml"/><Relationship Id="rId26" Type="http://schemas.openxmlformats.org/officeDocument/2006/relationships/slideLayout" Target="../slideLayouts/slideLayout796.xml"/><Relationship Id="rId39" Type="http://schemas.openxmlformats.org/officeDocument/2006/relationships/slideLayout" Target="../slideLayouts/slideLayout809.xml"/><Relationship Id="rId3" Type="http://schemas.openxmlformats.org/officeDocument/2006/relationships/slideLayout" Target="../slideLayouts/slideLayout773.xml"/><Relationship Id="rId21" Type="http://schemas.openxmlformats.org/officeDocument/2006/relationships/slideLayout" Target="../slideLayouts/slideLayout791.xml"/><Relationship Id="rId34" Type="http://schemas.openxmlformats.org/officeDocument/2006/relationships/slideLayout" Target="../slideLayouts/slideLayout804.xml"/><Relationship Id="rId42" Type="http://schemas.openxmlformats.org/officeDocument/2006/relationships/slideLayout" Target="../slideLayouts/slideLayout812.xml"/><Relationship Id="rId47" Type="http://schemas.openxmlformats.org/officeDocument/2006/relationships/slideLayout" Target="../slideLayouts/slideLayout817.xml"/><Relationship Id="rId50" Type="http://schemas.openxmlformats.org/officeDocument/2006/relationships/slideLayout" Target="../slideLayouts/slideLayout820.xml"/><Relationship Id="rId7" Type="http://schemas.openxmlformats.org/officeDocument/2006/relationships/slideLayout" Target="../slideLayouts/slideLayout777.xml"/><Relationship Id="rId12" Type="http://schemas.openxmlformats.org/officeDocument/2006/relationships/slideLayout" Target="../slideLayouts/slideLayout782.xml"/><Relationship Id="rId17" Type="http://schemas.openxmlformats.org/officeDocument/2006/relationships/slideLayout" Target="../slideLayouts/slideLayout787.xml"/><Relationship Id="rId25" Type="http://schemas.openxmlformats.org/officeDocument/2006/relationships/slideLayout" Target="../slideLayouts/slideLayout795.xml"/><Relationship Id="rId33" Type="http://schemas.openxmlformats.org/officeDocument/2006/relationships/slideLayout" Target="../slideLayouts/slideLayout803.xml"/><Relationship Id="rId38" Type="http://schemas.openxmlformats.org/officeDocument/2006/relationships/slideLayout" Target="../slideLayouts/slideLayout808.xml"/><Relationship Id="rId46" Type="http://schemas.openxmlformats.org/officeDocument/2006/relationships/slideLayout" Target="../slideLayouts/slideLayout816.xml"/><Relationship Id="rId2" Type="http://schemas.openxmlformats.org/officeDocument/2006/relationships/slideLayout" Target="../slideLayouts/slideLayout772.xml"/><Relationship Id="rId16" Type="http://schemas.openxmlformats.org/officeDocument/2006/relationships/slideLayout" Target="../slideLayouts/slideLayout786.xml"/><Relationship Id="rId20" Type="http://schemas.openxmlformats.org/officeDocument/2006/relationships/slideLayout" Target="../slideLayouts/slideLayout790.xml"/><Relationship Id="rId29" Type="http://schemas.openxmlformats.org/officeDocument/2006/relationships/slideLayout" Target="../slideLayouts/slideLayout799.xml"/><Relationship Id="rId41" Type="http://schemas.openxmlformats.org/officeDocument/2006/relationships/slideLayout" Target="../slideLayouts/slideLayout811.xml"/><Relationship Id="rId1" Type="http://schemas.openxmlformats.org/officeDocument/2006/relationships/slideLayout" Target="../slideLayouts/slideLayout771.xml"/><Relationship Id="rId6" Type="http://schemas.openxmlformats.org/officeDocument/2006/relationships/slideLayout" Target="../slideLayouts/slideLayout776.xml"/><Relationship Id="rId11" Type="http://schemas.openxmlformats.org/officeDocument/2006/relationships/slideLayout" Target="../slideLayouts/slideLayout781.xml"/><Relationship Id="rId24" Type="http://schemas.openxmlformats.org/officeDocument/2006/relationships/slideLayout" Target="../slideLayouts/slideLayout794.xml"/><Relationship Id="rId32" Type="http://schemas.openxmlformats.org/officeDocument/2006/relationships/slideLayout" Target="../slideLayouts/slideLayout802.xml"/><Relationship Id="rId37" Type="http://schemas.openxmlformats.org/officeDocument/2006/relationships/slideLayout" Target="../slideLayouts/slideLayout807.xml"/><Relationship Id="rId40" Type="http://schemas.openxmlformats.org/officeDocument/2006/relationships/slideLayout" Target="../slideLayouts/slideLayout810.xml"/><Relationship Id="rId45" Type="http://schemas.openxmlformats.org/officeDocument/2006/relationships/slideLayout" Target="../slideLayouts/slideLayout815.xml"/><Relationship Id="rId5" Type="http://schemas.openxmlformats.org/officeDocument/2006/relationships/slideLayout" Target="../slideLayouts/slideLayout775.xml"/><Relationship Id="rId15" Type="http://schemas.openxmlformats.org/officeDocument/2006/relationships/slideLayout" Target="../slideLayouts/slideLayout785.xml"/><Relationship Id="rId23" Type="http://schemas.openxmlformats.org/officeDocument/2006/relationships/slideLayout" Target="../slideLayouts/slideLayout793.xml"/><Relationship Id="rId28" Type="http://schemas.openxmlformats.org/officeDocument/2006/relationships/slideLayout" Target="../slideLayouts/slideLayout798.xml"/><Relationship Id="rId36" Type="http://schemas.openxmlformats.org/officeDocument/2006/relationships/slideLayout" Target="../slideLayouts/slideLayout806.xml"/><Relationship Id="rId49" Type="http://schemas.openxmlformats.org/officeDocument/2006/relationships/slideLayout" Target="../slideLayouts/slideLayout819.xml"/><Relationship Id="rId10" Type="http://schemas.openxmlformats.org/officeDocument/2006/relationships/slideLayout" Target="../slideLayouts/slideLayout780.xml"/><Relationship Id="rId19" Type="http://schemas.openxmlformats.org/officeDocument/2006/relationships/slideLayout" Target="../slideLayouts/slideLayout789.xml"/><Relationship Id="rId31" Type="http://schemas.openxmlformats.org/officeDocument/2006/relationships/slideLayout" Target="../slideLayouts/slideLayout801.xml"/><Relationship Id="rId44" Type="http://schemas.openxmlformats.org/officeDocument/2006/relationships/slideLayout" Target="../slideLayouts/slideLayout814.xml"/><Relationship Id="rId52" Type="http://schemas.openxmlformats.org/officeDocument/2006/relationships/theme" Target="../theme/theme18.xml"/><Relationship Id="rId4" Type="http://schemas.openxmlformats.org/officeDocument/2006/relationships/slideLayout" Target="../slideLayouts/slideLayout774.xml"/><Relationship Id="rId9" Type="http://schemas.openxmlformats.org/officeDocument/2006/relationships/slideLayout" Target="../slideLayouts/slideLayout779.xml"/><Relationship Id="rId14" Type="http://schemas.openxmlformats.org/officeDocument/2006/relationships/slideLayout" Target="../slideLayouts/slideLayout784.xml"/><Relationship Id="rId22" Type="http://schemas.openxmlformats.org/officeDocument/2006/relationships/slideLayout" Target="../slideLayouts/slideLayout792.xml"/><Relationship Id="rId27" Type="http://schemas.openxmlformats.org/officeDocument/2006/relationships/slideLayout" Target="../slideLayouts/slideLayout797.xml"/><Relationship Id="rId30" Type="http://schemas.openxmlformats.org/officeDocument/2006/relationships/slideLayout" Target="../slideLayouts/slideLayout800.xml"/><Relationship Id="rId35" Type="http://schemas.openxmlformats.org/officeDocument/2006/relationships/slideLayout" Target="../slideLayouts/slideLayout805.xml"/><Relationship Id="rId43" Type="http://schemas.openxmlformats.org/officeDocument/2006/relationships/slideLayout" Target="../slideLayouts/slideLayout813.xml"/><Relationship Id="rId48" Type="http://schemas.openxmlformats.org/officeDocument/2006/relationships/slideLayout" Target="../slideLayouts/slideLayout818.xml"/><Relationship Id="rId8" Type="http://schemas.openxmlformats.org/officeDocument/2006/relationships/slideLayout" Target="../slideLayouts/slideLayout778.xml"/><Relationship Id="rId51" Type="http://schemas.openxmlformats.org/officeDocument/2006/relationships/slideLayout" Target="../slideLayouts/slideLayout821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4.xml"/><Relationship Id="rId18" Type="http://schemas.openxmlformats.org/officeDocument/2006/relationships/slideLayout" Target="../slideLayouts/slideLayout839.xml"/><Relationship Id="rId26" Type="http://schemas.openxmlformats.org/officeDocument/2006/relationships/slideLayout" Target="../slideLayouts/slideLayout847.xml"/><Relationship Id="rId39" Type="http://schemas.openxmlformats.org/officeDocument/2006/relationships/slideLayout" Target="../slideLayouts/slideLayout860.xml"/><Relationship Id="rId3" Type="http://schemas.openxmlformats.org/officeDocument/2006/relationships/slideLayout" Target="../slideLayouts/slideLayout824.xml"/><Relationship Id="rId21" Type="http://schemas.openxmlformats.org/officeDocument/2006/relationships/slideLayout" Target="../slideLayouts/slideLayout842.xml"/><Relationship Id="rId34" Type="http://schemas.openxmlformats.org/officeDocument/2006/relationships/slideLayout" Target="../slideLayouts/slideLayout855.xml"/><Relationship Id="rId42" Type="http://schemas.openxmlformats.org/officeDocument/2006/relationships/slideLayout" Target="../slideLayouts/slideLayout863.xml"/><Relationship Id="rId47" Type="http://schemas.openxmlformats.org/officeDocument/2006/relationships/slideLayout" Target="../slideLayouts/slideLayout868.xml"/><Relationship Id="rId50" Type="http://schemas.openxmlformats.org/officeDocument/2006/relationships/slideLayout" Target="../slideLayouts/slideLayout871.xml"/><Relationship Id="rId7" Type="http://schemas.openxmlformats.org/officeDocument/2006/relationships/slideLayout" Target="../slideLayouts/slideLayout828.xml"/><Relationship Id="rId12" Type="http://schemas.openxmlformats.org/officeDocument/2006/relationships/slideLayout" Target="../slideLayouts/slideLayout833.xml"/><Relationship Id="rId17" Type="http://schemas.openxmlformats.org/officeDocument/2006/relationships/slideLayout" Target="../slideLayouts/slideLayout838.xml"/><Relationship Id="rId25" Type="http://schemas.openxmlformats.org/officeDocument/2006/relationships/slideLayout" Target="../slideLayouts/slideLayout846.xml"/><Relationship Id="rId33" Type="http://schemas.openxmlformats.org/officeDocument/2006/relationships/slideLayout" Target="../slideLayouts/slideLayout854.xml"/><Relationship Id="rId38" Type="http://schemas.openxmlformats.org/officeDocument/2006/relationships/slideLayout" Target="../slideLayouts/slideLayout859.xml"/><Relationship Id="rId46" Type="http://schemas.openxmlformats.org/officeDocument/2006/relationships/slideLayout" Target="../slideLayouts/slideLayout867.xml"/><Relationship Id="rId2" Type="http://schemas.openxmlformats.org/officeDocument/2006/relationships/slideLayout" Target="../slideLayouts/slideLayout823.xml"/><Relationship Id="rId16" Type="http://schemas.openxmlformats.org/officeDocument/2006/relationships/slideLayout" Target="../slideLayouts/slideLayout837.xml"/><Relationship Id="rId20" Type="http://schemas.openxmlformats.org/officeDocument/2006/relationships/slideLayout" Target="../slideLayouts/slideLayout841.xml"/><Relationship Id="rId29" Type="http://schemas.openxmlformats.org/officeDocument/2006/relationships/slideLayout" Target="../slideLayouts/slideLayout850.xml"/><Relationship Id="rId41" Type="http://schemas.openxmlformats.org/officeDocument/2006/relationships/slideLayout" Target="../slideLayouts/slideLayout862.xml"/><Relationship Id="rId1" Type="http://schemas.openxmlformats.org/officeDocument/2006/relationships/slideLayout" Target="../slideLayouts/slideLayout822.xml"/><Relationship Id="rId6" Type="http://schemas.openxmlformats.org/officeDocument/2006/relationships/slideLayout" Target="../slideLayouts/slideLayout827.xml"/><Relationship Id="rId11" Type="http://schemas.openxmlformats.org/officeDocument/2006/relationships/slideLayout" Target="../slideLayouts/slideLayout832.xml"/><Relationship Id="rId24" Type="http://schemas.openxmlformats.org/officeDocument/2006/relationships/slideLayout" Target="../slideLayouts/slideLayout845.xml"/><Relationship Id="rId32" Type="http://schemas.openxmlformats.org/officeDocument/2006/relationships/slideLayout" Target="../slideLayouts/slideLayout853.xml"/><Relationship Id="rId37" Type="http://schemas.openxmlformats.org/officeDocument/2006/relationships/slideLayout" Target="../slideLayouts/slideLayout858.xml"/><Relationship Id="rId40" Type="http://schemas.openxmlformats.org/officeDocument/2006/relationships/slideLayout" Target="../slideLayouts/slideLayout861.xml"/><Relationship Id="rId45" Type="http://schemas.openxmlformats.org/officeDocument/2006/relationships/slideLayout" Target="../slideLayouts/slideLayout866.xml"/><Relationship Id="rId53" Type="http://schemas.openxmlformats.org/officeDocument/2006/relationships/theme" Target="../theme/theme19.xml"/><Relationship Id="rId5" Type="http://schemas.openxmlformats.org/officeDocument/2006/relationships/slideLayout" Target="../slideLayouts/slideLayout826.xml"/><Relationship Id="rId15" Type="http://schemas.openxmlformats.org/officeDocument/2006/relationships/slideLayout" Target="../slideLayouts/slideLayout836.xml"/><Relationship Id="rId23" Type="http://schemas.openxmlformats.org/officeDocument/2006/relationships/slideLayout" Target="../slideLayouts/slideLayout844.xml"/><Relationship Id="rId28" Type="http://schemas.openxmlformats.org/officeDocument/2006/relationships/slideLayout" Target="../slideLayouts/slideLayout849.xml"/><Relationship Id="rId36" Type="http://schemas.openxmlformats.org/officeDocument/2006/relationships/slideLayout" Target="../slideLayouts/slideLayout857.xml"/><Relationship Id="rId49" Type="http://schemas.openxmlformats.org/officeDocument/2006/relationships/slideLayout" Target="../slideLayouts/slideLayout870.xml"/><Relationship Id="rId10" Type="http://schemas.openxmlformats.org/officeDocument/2006/relationships/slideLayout" Target="../slideLayouts/slideLayout831.xml"/><Relationship Id="rId19" Type="http://schemas.openxmlformats.org/officeDocument/2006/relationships/slideLayout" Target="../slideLayouts/slideLayout840.xml"/><Relationship Id="rId31" Type="http://schemas.openxmlformats.org/officeDocument/2006/relationships/slideLayout" Target="../slideLayouts/slideLayout852.xml"/><Relationship Id="rId44" Type="http://schemas.openxmlformats.org/officeDocument/2006/relationships/slideLayout" Target="../slideLayouts/slideLayout865.xml"/><Relationship Id="rId52" Type="http://schemas.openxmlformats.org/officeDocument/2006/relationships/slideLayout" Target="../slideLayouts/slideLayout873.xml"/><Relationship Id="rId4" Type="http://schemas.openxmlformats.org/officeDocument/2006/relationships/slideLayout" Target="../slideLayouts/slideLayout825.xml"/><Relationship Id="rId9" Type="http://schemas.openxmlformats.org/officeDocument/2006/relationships/slideLayout" Target="../slideLayouts/slideLayout830.xml"/><Relationship Id="rId14" Type="http://schemas.openxmlformats.org/officeDocument/2006/relationships/slideLayout" Target="../slideLayouts/slideLayout835.xml"/><Relationship Id="rId22" Type="http://schemas.openxmlformats.org/officeDocument/2006/relationships/slideLayout" Target="../slideLayouts/slideLayout843.xml"/><Relationship Id="rId27" Type="http://schemas.openxmlformats.org/officeDocument/2006/relationships/slideLayout" Target="../slideLayouts/slideLayout848.xml"/><Relationship Id="rId30" Type="http://schemas.openxmlformats.org/officeDocument/2006/relationships/slideLayout" Target="../slideLayouts/slideLayout851.xml"/><Relationship Id="rId35" Type="http://schemas.openxmlformats.org/officeDocument/2006/relationships/slideLayout" Target="../slideLayouts/slideLayout856.xml"/><Relationship Id="rId43" Type="http://schemas.openxmlformats.org/officeDocument/2006/relationships/slideLayout" Target="../slideLayouts/slideLayout864.xml"/><Relationship Id="rId48" Type="http://schemas.openxmlformats.org/officeDocument/2006/relationships/slideLayout" Target="../slideLayouts/slideLayout869.xml"/><Relationship Id="rId8" Type="http://schemas.openxmlformats.org/officeDocument/2006/relationships/slideLayout" Target="../slideLayouts/slideLayout829.xml"/><Relationship Id="rId51" Type="http://schemas.openxmlformats.org/officeDocument/2006/relationships/slideLayout" Target="../slideLayouts/slideLayout87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0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3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1.xml"/><Relationship Id="rId13" Type="http://schemas.openxmlformats.org/officeDocument/2006/relationships/slideLayout" Target="../slideLayouts/slideLayout886.xml"/><Relationship Id="rId18" Type="http://schemas.openxmlformats.org/officeDocument/2006/relationships/slideLayout" Target="../slideLayouts/slideLayout891.xml"/><Relationship Id="rId26" Type="http://schemas.openxmlformats.org/officeDocument/2006/relationships/slideLayout" Target="../slideLayouts/slideLayout899.xml"/><Relationship Id="rId3" Type="http://schemas.openxmlformats.org/officeDocument/2006/relationships/slideLayout" Target="../slideLayouts/slideLayout876.xml"/><Relationship Id="rId21" Type="http://schemas.openxmlformats.org/officeDocument/2006/relationships/slideLayout" Target="../slideLayouts/slideLayout894.xml"/><Relationship Id="rId7" Type="http://schemas.openxmlformats.org/officeDocument/2006/relationships/slideLayout" Target="../slideLayouts/slideLayout880.xml"/><Relationship Id="rId12" Type="http://schemas.openxmlformats.org/officeDocument/2006/relationships/slideLayout" Target="../slideLayouts/slideLayout885.xml"/><Relationship Id="rId17" Type="http://schemas.openxmlformats.org/officeDocument/2006/relationships/slideLayout" Target="../slideLayouts/slideLayout890.xml"/><Relationship Id="rId25" Type="http://schemas.openxmlformats.org/officeDocument/2006/relationships/slideLayout" Target="../slideLayouts/slideLayout898.xml"/><Relationship Id="rId2" Type="http://schemas.openxmlformats.org/officeDocument/2006/relationships/slideLayout" Target="../slideLayouts/slideLayout875.xml"/><Relationship Id="rId16" Type="http://schemas.openxmlformats.org/officeDocument/2006/relationships/slideLayout" Target="../slideLayouts/slideLayout889.xml"/><Relationship Id="rId20" Type="http://schemas.openxmlformats.org/officeDocument/2006/relationships/slideLayout" Target="../slideLayouts/slideLayout893.xml"/><Relationship Id="rId1" Type="http://schemas.openxmlformats.org/officeDocument/2006/relationships/slideLayout" Target="../slideLayouts/slideLayout874.xml"/><Relationship Id="rId6" Type="http://schemas.openxmlformats.org/officeDocument/2006/relationships/slideLayout" Target="../slideLayouts/slideLayout879.xml"/><Relationship Id="rId11" Type="http://schemas.openxmlformats.org/officeDocument/2006/relationships/slideLayout" Target="../slideLayouts/slideLayout884.xml"/><Relationship Id="rId24" Type="http://schemas.openxmlformats.org/officeDocument/2006/relationships/slideLayout" Target="../slideLayouts/slideLayout897.xml"/><Relationship Id="rId5" Type="http://schemas.openxmlformats.org/officeDocument/2006/relationships/slideLayout" Target="../slideLayouts/slideLayout878.xml"/><Relationship Id="rId15" Type="http://schemas.openxmlformats.org/officeDocument/2006/relationships/slideLayout" Target="../slideLayouts/slideLayout888.xml"/><Relationship Id="rId23" Type="http://schemas.openxmlformats.org/officeDocument/2006/relationships/slideLayout" Target="../slideLayouts/slideLayout896.xml"/><Relationship Id="rId28" Type="http://schemas.openxmlformats.org/officeDocument/2006/relationships/theme" Target="../theme/theme20.xml"/><Relationship Id="rId10" Type="http://schemas.openxmlformats.org/officeDocument/2006/relationships/slideLayout" Target="../slideLayouts/slideLayout883.xml"/><Relationship Id="rId19" Type="http://schemas.openxmlformats.org/officeDocument/2006/relationships/slideLayout" Target="../slideLayouts/slideLayout892.xml"/><Relationship Id="rId4" Type="http://schemas.openxmlformats.org/officeDocument/2006/relationships/slideLayout" Target="../slideLayouts/slideLayout877.xml"/><Relationship Id="rId9" Type="http://schemas.openxmlformats.org/officeDocument/2006/relationships/slideLayout" Target="../slideLayouts/slideLayout882.xml"/><Relationship Id="rId14" Type="http://schemas.openxmlformats.org/officeDocument/2006/relationships/slideLayout" Target="../slideLayouts/slideLayout887.xml"/><Relationship Id="rId22" Type="http://schemas.openxmlformats.org/officeDocument/2006/relationships/slideLayout" Target="../slideLayouts/slideLayout895.xml"/><Relationship Id="rId27" Type="http://schemas.openxmlformats.org/officeDocument/2006/relationships/slideLayout" Target="../slideLayouts/slideLayout90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8.xml"/><Relationship Id="rId13" Type="http://schemas.openxmlformats.org/officeDocument/2006/relationships/slideLayout" Target="../slideLayouts/slideLayout913.xml"/><Relationship Id="rId18" Type="http://schemas.openxmlformats.org/officeDocument/2006/relationships/slideLayout" Target="../slideLayouts/slideLayout918.xml"/><Relationship Id="rId26" Type="http://schemas.openxmlformats.org/officeDocument/2006/relationships/slideLayout" Target="../slideLayouts/slideLayout926.xml"/><Relationship Id="rId3" Type="http://schemas.openxmlformats.org/officeDocument/2006/relationships/slideLayout" Target="../slideLayouts/slideLayout903.xml"/><Relationship Id="rId21" Type="http://schemas.openxmlformats.org/officeDocument/2006/relationships/slideLayout" Target="../slideLayouts/slideLayout921.xml"/><Relationship Id="rId7" Type="http://schemas.openxmlformats.org/officeDocument/2006/relationships/slideLayout" Target="../slideLayouts/slideLayout907.xml"/><Relationship Id="rId12" Type="http://schemas.openxmlformats.org/officeDocument/2006/relationships/slideLayout" Target="../slideLayouts/slideLayout912.xml"/><Relationship Id="rId17" Type="http://schemas.openxmlformats.org/officeDocument/2006/relationships/slideLayout" Target="../slideLayouts/slideLayout917.xml"/><Relationship Id="rId25" Type="http://schemas.openxmlformats.org/officeDocument/2006/relationships/slideLayout" Target="../slideLayouts/slideLayout925.xml"/><Relationship Id="rId2" Type="http://schemas.openxmlformats.org/officeDocument/2006/relationships/slideLayout" Target="../slideLayouts/slideLayout902.xml"/><Relationship Id="rId16" Type="http://schemas.openxmlformats.org/officeDocument/2006/relationships/slideLayout" Target="../slideLayouts/slideLayout916.xml"/><Relationship Id="rId20" Type="http://schemas.openxmlformats.org/officeDocument/2006/relationships/slideLayout" Target="../slideLayouts/slideLayout9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901.xml"/><Relationship Id="rId6" Type="http://schemas.openxmlformats.org/officeDocument/2006/relationships/slideLayout" Target="../slideLayouts/slideLayout906.xml"/><Relationship Id="rId11" Type="http://schemas.openxmlformats.org/officeDocument/2006/relationships/slideLayout" Target="../slideLayouts/slideLayout911.xml"/><Relationship Id="rId24" Type="http://schemas.openxmlformats.org/officeDocument/2006/relationships/slideLayout" Target="../slideLayouts/slideLayout924.xml"/><Relationship Id="rId5" Type="http://schemas.openxmlformats.org/officeDocument/2006/relationships/slideLayout" Target="../slideLayouts/slideLayout905.xml"/><Relationship Id="rId15" Type="http://schemas.openxmlformats.org/officeDocument/2006/relationships/slideLayout" Target="../slideLayouts/slideLayout915.xml"/><Relationship Id="rId23" Type="http://schemas.openxmlformats.org/officeDocument/2006/relationships/slideLayout" Target="../slideLayouts/slideLayout923.xml"/><Relationship Id="rId28" Type="http://schemas.openxmlformats.org/officeDocument/2006/relationships/theme" Target="../theme/theme21.xml"/><Relationship Id="rId10" Type="http://schemas.openxmlformats.org/officeDocument/2006/relationships/slideLayout" Target="../slideLayouts/slideLayout910.xml"/><Relationship Id="rId19" Type="http://schemas.openxmlformats.org/officeDocument/2006/relationships/slideLayout" Target="../slideLayouts/slideLayout919.xml"/><Relationship Id="rId31" Type="http://schemas.openxmlformats.org/officeDocument/2006/relationships/image" Target="../media/image27.emf"/><Relationship Id="rId4" Type="http://schemas.openxmlformats.org/officeDocument/2006/relationships/slideLayout" Target="../slideLayouts/slideLayout904.xml"/><Relationship Id="rId9" Type="http://schemas.openxmlformats.org/officeDocument/2006/relationships/slideLayout" Target="../slideLayouts/slideLayout909.xml"/><Relationship Id="rId14" Type="http://schemas.openxmlformats.org/officeDocument/2006/relationships/slideLayout" Target="../slideLayouts/slideLayout914.xml"/><Relationship Id="rId22" Type="http://schemas.openxmlformats.org/officeDocument/2006/relationships/slideLayout" Target="../slideLayouts/slideLayout922.xml"/><Relationship Id="rId27" Type="http://schemas.openxmlformats.org/officeDocument/2006/relationships/slideLayout" Target="../slideLayouts/slideLayout927.xml"/><Relationship Id="rId30" Type="http://schemas.openxmlformats.org/officeDocument/2006/relationships/oleObject" Target="../embeddings/oleObject1.bin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0.xml"/><Relationship Id="rId18" Type="http://schemas.openxmlformats.org/officeDocument/2006/relationships/slideLayout" Target="../slideLayouts/slideLayout945.xml"/><Relationship Id="rId26" Type="http://schemas.openxmlformats.org/officeDocument/2006/relationships/slideLayout" Target="../slideLayouts/slideLayout953.xml"/><Relationship Id="rId39" Type="http://schemas.openxmlformats.org/officeDocument/2006/relationships/slideLayout" Target="../slideLayouts/slideLayout966.xml"/><Relationship Id="rId21" Type="http://schemas.openxmlformats.org/officeDocument/2006/relationships/slideLayout" Target="../slideLayouts/slideLayout948.xml"/><Relationship Id="rId34" Type="http://schemas.openxmlformats.org/officeDocument/2006/relationships/slideLayout" Target="../slideLayouts/slideLayout961.xml"/><Relationship Id="rId42" Type="http://schemas.openxmlformats.org/officeDocument/2006/relationships/slideLayout" Target="../slideLayouts/slideLayout969.xml"/><Relationship Id="rId47" Type="http://schemas.openxmlformats.org/officeDocument/2006/relationships/slideLayout" Target="../slideLayouts/slideLayout974.xml"/><Relationship Id="rId50" Type="http://schemas.openxmlformats.org/officeDocument/2006/relationships/slideLayout" Target="../slideLayouts/slideLayout977.xml"/><Relationship Id="rId55" Type="http://schemas.openxmlformats.org/officeDocument/2006/relationships/theme" Target="../theme/theme22.xml"/><Relationship Id="rId7" Type="http://schemas.openxmlformats.org/officeDocument/2006/relationships/slideLayout" Target="../slideLayouts/slideLayout934.xml"/><Relationship Id="rId12" Type="http://schemas.openxmlformats.org/officeDocument/2006/relationships/slideLayout" Target="../slideLayouts/slideLayout939.xml"/><Relationship Id="rId17" Type="http://schemas.openxmlformats.org/officeDocument/2006/relationships/slideLayout" Target="../slideLayouts/slideLayout944.xml"/><Relationship Id="rId25" Type="http://schemas.openxmlformats.org/officeDocument/2006/relationships/slideLayout" Target="../slideLayouts/slideLayout952.xml"/><Relationship Id="rId33" Type="http://schemas.openxmlformats.org/officeDocument/2006/relationships/slideLayout" Target="../slideLayouts/slideLayout960.xml"/><Relationship Id="rId38" Type="http://schemas.openxmlformats.org/officeDocument/2006/relationships/slideLayout" Target="../slideLayouts/slideLayout965.xml"/><Relationship Id="rId46" Type="http://schemas.openxmlformats.org/officeDocument/2006/relationships/slideLayout" Target="../slideLayouts/slideLayout973.xml"/><Relationship Id="rId2" Type="http://schemas.openxmlformats.org/officeDocument/2006/relationships/slideLayout" Target="../slideLayouts/slideLayout929.xml"/><Relationship Id="rId16" Type="http://schemas.openxmlformats.org/officeDocument/2006/relationships/slideLayout" Target="../slideLayouts/slideLayout943.xml"/><Relationship Id="rId20" Type="http://schemas.openxmlformats.org/officeDocument/2006/relationships/slideLayout" Target="../slideLayouts/slideLayout947.xml"/><Relationship Id="rId29" Type="http://schemas.openxmlformats.org/officeDocument/2006/relationships/slideLayout" Target="../slideLayouts/slideLayout956.xml"/><Relationship Id="rId41" Type="http://schemas.openxmlformats.org/officeDocument/2006/relationships/slideLayout" Target="../slideLayouts/slideLayout968.xml"/><Relationship Id="rId54" Type="http://schemas.openxmlformats.org/officeDocument/2006/relationships/slideLayout" Target="../slideLayouts/slideLayout981.xml"/><Relationship Id="rId1" Type="http://schemas.openxmlformats.org/officeDocument/2006/relationships/slideLayout" Target="../slideLayouts/slideLayout928.xml"/><Relationship Id="rId6" Type="http://schemas.openxmlformats.org/officeDocument/2006/relationships/slideLayout" Target="../slideLayouts/slideLayout933.xml"/><Relationship Id="rId11" Type="http://schemas.openxmlformats.org/officeDocument/2006/relationships/slideLayout" Target="../slideLayouts/slideLayout938.xml"/><Relationship Id="rId24" Type="http://schemas.openxmlformats.org/officeDocument/2006/relationships/slideLayout" Target="../slideLayouts/slideLayout951.xml"/><Relationship Id="rId32" Type="http://schemas.openxmlformats.org/officeDocument/2006/relationships/slideLayout" Target="../slideLayouts/slideLayout959.xml"/><Relationship Id="rId37" Type="http://schemas.openxmlformats.org/officeDocument/2006/relationships/slideLayout" Target="../slideLayouts/slideLayout964.xml"/><Relationship Id="rId40" Type="http://schemas.openxmlformats.org/officeDocument/2006/relationships/slideLayout" Target="../slideLayouts/slideLayout967.xml"/><Relationship Id="rId45" Type="http://schemas.openxmlformats.org/officeDocument/2006/relationships/slideLayout" Target="../slideLayouts/slideLayout972.xml"/><Relationship Id="rId53" Type="http://schemas.openxmlformats.org/officeDocument/2006/relationships/slideLayout" Target="../slideLayouts/slideLayout980.xml"/><Relationship Id="rId5" Type="http://schemas.openxmlformats.org/officeDocument/2006/relationships/slideLayout" Target="../slideLayouts/slideLayout932.xml"/><Relationship Id="rId15" Type="http://schemas.openxmlformats.org/officeDocument/2006/relationships/slideLayout" Target="../slideLayouts/slideLayout942.xml"/><Relationship Id="rId23" Type="http://schemas.openxmlformats.org/officeDocument/2006/relationships/slideLayout" Target="../slideLayouts/slideLayout950.xml"/><Relationship Id="rId28" Type="http://schemas.openxmlformats.org/officeDocument/2006/relationships/slideLayout" Target="../slideLayouts/slideLayout955.xml"/><Relationship Id="rId36" Type="http://schemas.openxmlformats.org/officeDocument/2006/relationships/slideLayout" Target="../slideLayouts/slideLayout963.xml"/><Relationship Id="rId49" Type="http://schemas.openxmlformats.org/officeDocument/2006/relationships/slideLayout" Target="../slideLayouts/slideLayout976.xml"/><Relationship Id="rId10" Type="http://schemas.openxmlformats.org/officeDocument/2006/relationships/slideLayout" Target="../slideLayouts/slideLayout937.xml"/><Relationship Id="rId19" Type="http://schemas.openxmlformats.org/officeDocument/2006/relationships/slideLayout" Target="../slideLayouts/slideLayout946.xml"/><Relationship Id="rId31" Type="http://schemas.openxmlformats.org/officeDocument/2006/relationships/slideLayout" Target="../slideLayouts/slideLayout958.xml"/><Relationship Id="rId44" Type="http://schemas.openxmlformats.org/officeDocument/2006/relationships/slideLayout" Target="../slideLayouts/slideLayout971.xml"/><Relationship Id="rId52" Type="http://schemas.openxmlformats.org/officeDocument/2006/relationships/slideLayout" Target="../slideLayouts/slideLayout979.xml"/><Relationship Id="rId4" Type="http://schemas.openxmlformats.org/officeDocument/2006/relationships/slideLayout" Target="../slideLayouts/slideLayout931.xml"/><Relationship Id="rId9" Type="http://schemas.openxmlformats.org/officeDocument/2006/relationships/slideLayout" Target="../slideLayouts/slideLayout936.xml"/><Relationship Id="rId14" Type="http://schemas.openxmlformats.org/officeDocument/2006/relationships/slideLayout" Target="../slideLayouts/slideLayout941.xml"/><Relationship Id="rId22" Type="http://schemas.openxmlformats.org/officeDocument/2006/relationships/slideLayout" Target="../slideLayouts/slideLayout949.xml"/><Relationship Id="rId27" Type="http://schemas.openxmlformats.org/officeDocument/2006/relationships/slideLayout" Target="../slideLayouts/slideLayout954.xml"/><Relationship Id="rId30" Type="http://schemas.openxmlformats.org/officeDocument/2006/relationships/slideLayout" Target="../slideLayouts/slideLayout957.xml"/><Relationship Id="rId35" Type="http://schemas.openxmlformats.org/officeDocument/2006/relationships/slideLayout" Target="../slideLayouts/slideLayout962.xml"/><Relationship Id="rId43" Type="http://schemas.openxmlformats.org/officeDocument/2006/relationships/slideLayout" Target="../slideLayouts/slideLayout970.xml"/><Relationship Id="rId48" Type="http://schemas.openxmlformats.org/officeDocument/2006/relationships/slideLayout" Target="../slideLayouts/slideLayout975.xml"/><Relationship Id="rId8" Type="http://schemas.openxmlformats.org/officeDocument/2006/relationships/slideLayout" Target="../slideLayouts/slideLayout935.xml"/><Relationship Id="rId51" Type="http://schemas.openxmlformats.org/officeDocument/2006/relationships/slideLayout" Target="../slideLayouts/slideLayout978.xml"/><Relationship Id="rId3" Type="http://schemas.openxmlformats.org/officeDocument/2006/relationships/slideLayout" Target="../slideLayouts/slideLayout9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9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58.xml"/><Relationship Id="rId34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79.xml"/><Relationship Id="rId47" Type="http://schemas.openxmlformats.org/officeDocument/2006/relationships/slideLayout" Target="../slideLayouts/slideLayout184.xml"/><Relationship Id="rId50" Type="http://schemas.openxmlformats.org/officeDocument/2006/relationships/slideLayout" Target="../slideLayouts/slideLayout187.xml"/><Relationship Id="rId55" Type="http://schemas.openxmlformats.org/officeDocument/2006/relationships/theme" Target="../theme/theme4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29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78.xml"/><Relationship Id="rId54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slideLayout" Target="../slideLayouts/slideLayout182.xml"/><Relationship Id="rId53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49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4" Type="http://schemas.openxmlformats.org/officeDocument/2006/relationships/slideLayout" Target="../slideLayouts/slideLayout181.xml"/><Relationship Id="rId52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slideLayout" Target="../slideLayouts/slideLayout180.xml"/><Relationship Id="rId48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45.xml"/><Relationship Id="rId51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26" Type="http://schemas.openxmlformats.org/officeDocument/2006/relationships/slideLayout" Target="../slideLayouts/slideLayout217.xml"/><Relationship Id="rId39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212.xml"/><Relationship Id="rId34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5" Type="http://schemas.openxmlformats.org/officeDocument/2006/relationships/slideLayout" Target="../slideLayouts/slideLayout216.xml"/><Relationship Id="rId33" Type="http://schemas.openxmlformats.org/officeDocument/2006/relationships/slideLayout" Target="../slideLayouts/slideLayout224.xml"/><Relationship Id="rId38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20" Type="http://schemas.openxmlformats.org/officeDocument/2006/relationships/slideLayout" Target="../slideLayouts/slideLayout211.xml"/><Relationship Id="rId29" Type="http://schemas.openxmlformats.org/officeDocument/2006/relationships/slideLayout" Target="../slideLayouts/slideLayout220.xml"/><Relationship Id="rId41" Type="http://schemas.openxmlformats.org/officeDocument/2006/relationships/theme" Target="../theme/theme5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24" Type="http://schemas.openxmlformats.org/officeDocument/2006/relationships/slideLayout" Target="../slideLayouts/slideLayout215.xml"/><Relationship Id="rId32" Type="http://schemas.openxmlformats.org/officeDocument/2006/relationships/slideLayout" Target="../slideLayouts/slideLayout223.xml"/><Relationship Id="rId37" Type="http://schemas.openxmlformats.org/officeDocument/2006/relationships/slideLayout" Target="../slideLayouts/slideLayout228.xml"/><Relationship Id="rId40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23" Type="http://schemas.openxmlformats.org/officeDocument/2006/relationships/slideLayout" Target="../slideLayouts/slideLayout214.xml"/><Relationship Id="rId28" Type="http://schemas.openxmlformats.org/officeDocument/2006/relationships/slideLayout" Target="../slideLayouts/slideLayout219.xml"/><Relationship Id="rId36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01.xml"/><Relationship Id="rId19" Type="http://schemas.openxmlformats.org/officeDocument/2006/relationships/slideLayout" Target="../slideLayouts/slideLayout210.xml"/><Relationship Id="rId31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213.xml"/><Relationship Id="rId27" Type="http://schemas.openxmlformats.org/officeDocument/2006/relationships/slideLayout" Target="../slideLayouts/slideLayout218.xml"/><Relationship Id="rId30" Type="http://schemas.openxmlformats.org/officeDocument/2006/relationships/slideLayout" Target="../slideLayouts/slideLayout221.xml"/><Relationship Id="rId35" Type="http://schemas.openxmlformats.org/officeDocument/2006/relationships/slideLayout" Target="../slideLayouts/slideLayout22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249.xml"/><Relationship Id="rId26" Type="http://schemas.openxmlformats.org/officeDocument/2006/relationships/slideLayout" Target="../slideLayouts/slideLayout257.xml"/><Relationship Id="rId39" Type="http://schemas.openxmlformats.org/officeDocument/2006/relationships/slideLayout" Target="../slideLayouts/slideLayout270.xml"/><Relationship Id="rId3" Type="http://schemas.openxmlformats.org/officeDocument/2006/relationships/slideLayout" Target="../slideLayouts/slideLayout234.xml"/><Relationship Id="rId21" Type="http://schemas.openxmlformats.org/officeDocument/2006/relationships/slideLayout" Target="../slideLayouts/slideLayout252.xml"/><Relationship Id="rId34" Type="http://schemas.openxmlformats.org/officeDocument/2006/relationships/slideLayout" Target="../slideLayouts/slideLayout265.xml"/><Relationship Id="rId42" Type="http://schemas.openxmlformats.org/officeDocument/2006/relationships/slideLayout" Target="../slideLayouts/slideLayout273.xml"/><Relationship Id="rId47" Type="http://schemas.openxmlformats.org/officeDocument/2006/relationships/slideLayout" Target="../slideLayouts/slideLayout278.xml"/><Relationship Id="rId50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38.xml"/><Relationship Id="rId12" Type="http://schemas.openxmlformats.org/officeDocument/2006/relationships/slideLayout" Target="../slideLayouts/slideLayout243.xml"/><Relationship Id="rId17" Type="http://schemas.openxmlformats.org/officeDocument/2006/relationships/slideLayout" Target="../slideLayouts/slideLayout248.xml"/><Relationship Id="rId25" Type="http://schemas.openxmlformats.org/officeDocument/2006/relationships/slideLayout" Target="../slideLayouts/slideLayout256.xml"/><Relationship Id="rId33" Type="http://schemas.openxmlformats.org/officeDocument/2006/relationships/slideLayout" Target="../slideLayouts/slideLayout264.xml"/><Relationship Id="rId38" Type="http://schemas.openxmlformats.org/officeDocument/2006/relationships/slideLayout" Target="../slideLayouts/slideLayout269.xml"/><Relationship Id="rId46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33.xml"/><Relationship Id="rId16" Type="http://schemas.openxmlformats.org/officeDocument/2006/relationships/slideLayout" Target="../slideLayouts/slideLayout247.xml"/><Relationship Id="rId20" Type="http://schemas.openxmlformats.org/officeDocument/2006/relationships/slideLayout" Target="../slideLayouts/slideLayout251.xml"/><Relationship Id="rId29" Type="http://schemas.openxmlformats.org/officeDocument/2006/relationships/slideLayout" Target="../slideLayouts/slideLayout260.xml"/><Relationship Id="rId41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24" Type="http://schemas.openxmlformats.org/officeDocument/2006/relationships/slideLayout" Target="../slideLayouts/slideLayout255.xml"/><Relationship Id="rId32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268.xml"/><Relationship Id="rId40" Type="http://schemas.openxmlformats.org/officeDocument/2006/relationships/slideLayout" Target="../slideLayouts/slideLayout271.xml"/><Relationship Id="rId45" Type="http://schemas.openxmlformats.org/officeDocument/2006/relationships/slideLayout" Target="../slideLayouts/slideLayout276.xml"/><Relationship Id="rId53" Type="http://schemas.openxmlformats.org/officeDocument/2006/relationships/theme" Target="../theme/theme6.xml"/><Relationship Id="rId5" Type="http://schemas.openxmlformats.org/officeDocument/2006/relationships/slideLayout" Target="../slideLayouts/slideLayout236.xml"/><Relationship Id="rId15" Type="http://schemas.openxmlformats.org/officeDocument/2006/relationships/slideLayout" Target="../slideLayouts/slideLayout246.xml"/><Relationship Id="rId23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59.xml"/><Relationship Id="rId36" Type="http://schemas.openxmlformats.org/officeDocument/2006/relationships/slideLayout" Target="../slideLayouts/slideLayout267.xml"/><Relationship Id="rId49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41.xml"/><Relationship Id="rId19" Type="http://schemas.openxmlformats.org/officeDocument/2006/relationships/slideLayout" Target="../slideLayouts/slideLayout250.xml"/><Relationship Id="rId31" Type="http://schemas.openxmlformats.org/officeDocument/2006/relationships/slideLayout" Target="../slideLayouts/slideLayout262.xml"/><Relationship Id="rId44" Type="http://schemas.openxmlformats.org/officeDocument/2006/relationships/slideLayout" Target="../slideLayouts/slideLayout275.xml"/><Relationship Id="rId52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Relationship Id="rId14" Type="http://schemas.openxmlformats.org/officeDocument/2006/relationships/slideLayout" Target="../slideLayouts/slideLayout245.xml"/><Relationship Id="rId22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58.xml"/><Relationship Id="rId30" Type="http://schemas.openxmlformats.org/officeDocument/2006/relationships/slideLayout" Target="../slideLayouts/slideLayout261.xml"/><Relationship Id="rId35" Type="http://schemas.openxmlformats.org/officeDocument/2006/relationships/slideLayout" Target="../slideLayouts/slideLayout266.xml"/><Relationship Id="rId43" Type="http://schemas.openxmlformats.org/officeDocument/2006/relationships/slideLayout" Target="../slideLayouts/slideLayout274.xml"/><Relationship Id="rId48" Type="http://schemas.openxmlformats.org/officeDocument/2006/relationships/slideLayout" Target="../slideLayouts/slideLayout279.xml"/><Relationship Id="rId8" Type="http://schemas.openxmlformats.org/officeDocument/2006/relationships/slideLayout" Target="../slideLayouts/slideLayout239.xml"/><Relationship Id="rId51" Type="http://schemas.openxmlformats.org/officeDocument/2006/relationships/slideLayout" Target="../slideLayouts/slideLayout28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9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34" Type="http://schemas.openxmlformats.org/officeDocument/2006/relationships/slideLayout" Target="../slideLayouts/slideLayout317.xml"/><Relationship Id="rId42" Type="http://schemas.openxmlformats.org/officeDocument/2006/relationships/slideLayout" Target="../slideLayouts/slideLayout325.xml"/><Relationship Id="rId47" Type="http://schemas.openxmlformats.org/officeDocument/2006/relationships/slideLayout" Target="../slideLayouts/slideLayout330.xml"/><Relationship Id="rId50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33" Type="http://schemas.openxmlformats.org/officeDocument/2006/relationships/slideLayout" Target="../slideLayouts/slideLayout316.xml"/><Relationship Id="rId38" Type="http://schemas.openxmlformats.org/officeDocument/2006/relationships/slideLayout" Target="../slideLayouts/slideLayout321.xml"/><Relationship Id="rId46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41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32" Type="http://schemas.openxmlformats.org/officeDocument/2006/relationships/slideLayout" Target="../slideLayouts/slideLayout315.xml"/><Relationship Id="rId37" Type="http://schemas.openxmlformats.org/officeDocument/2006/relationships/slideLayout" Target="../slideLayouts/slideLayout320.xml"/><Relationship Id="rId40" Type="http://schemas.openxmlformats.org/officeDocument/2006/relationships/slideLayout" Target="../slideLayouts/slideLayout323.xml"/><Relationship Id="rId45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36" Type="http://schemas.openxmlformats.org/officeDocument/2006/relationships/slideLayout" Target="../slideLayouts/slideLayout319.xml"/><Relationship Id="rId49" Type="http://schemas.openxmlformats.org/officeDocument/2006/relationships/slideLayout" Target="../slideLayouts/slideLayout332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slideLayout" Target="../slideLayouts/slideLayout314.xml"/><Relationship Id="rId44" Type="http://schemas.openxmlformats.org/officeDocument/2006/relationships/slideLayout" Target="../slideLayouts/slideLayout327.xml"/><Relationship Id="rId52" Type="http://schemas.openxmlformats.org/officeDocument/2006/relationships/theme" Target="../theme/theme7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slideLayout" Target="../slideLayouts/slideLayout313.xml"/><Relationship Id="rId35" Type="http://schemas.openxmlformats.org/officeDocument/2006/relationships/slideLayout" Target="../slideLayouts/slideLayout318.xml"/><Relationship Id="rId43" Type="http://schemas.openxmlformats.org/officeDocument/2006/relationships/slideLayout" Target="../slideLayouts/slideLayout326.xml"/><Relationship Id="rId48" Type="http://schemas.openxmlformats.org/officeDocument/2006/relationships/slideLayout" Target="../slideLayouts/slideLayout331.xml"/><Relationship Id="rId8" Type="http://schemas.openxmlformats.org/officeDocument/2006/relationships/slideLayout" Target="../slideLayouts/slideLayout291.xml"/><Relationship Id="rId51" Type="http://schemas.openxmlformats.org/officeDocument/2006/relationships/slideLayout" Target="../slideLayouts/slideLayout33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13" Type="http://schemas.openxmlformats.org/officeDocument/2006/relationships/slideLayout" Target="../slideLayouts/slideLayout347.xml"/><Relationship Id="rId18" Type="http://schemas.openxmlformats.org/officeDocument/2006/relationships/slideLayout" Target="../slideLayouts/slideLayout352.xml"/><Relationship Id="rId3" Type="http://schemas.openxmlformats.org/officeDocument/2006/relationships/slideLayout" Target="../slideLayouts/slideLayout337.xml"/><Relationship Id="rId21" Type="http://schemas.openxmlformats.org/officeDocument/2006/relationships/slideLayout" Target="../slideLayouts/slideLayout355.xml"/><Relationship Id="rId7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46.xml"/><Relationship Id="rId17" Type="http://schemas.openxmlformats.org/officeDocument/2006/relationships/slideLayout" Target="../slideLayouts/slideLayout351.xml"/><Relationship Id="rId2" Type="http://schemas.openxmlformats.org/officeDocument/2006/relationships/slideLayout" Target="../slideLayouts/slideLayout336.xml"/><Relationship Id="rId16" Type="http://schemas.openxmlformats.org/officeDocument/2006/relationships/slideLayout" Target="../slideLayouts/slideLayout350.xml"/><Relationship Id="rId20" Type="http://schemas.openxmlformats.org/officeDocument/2006/relationships/slideLayout" Target="../slideLayouts/slideLayout354.xml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1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39.xml"/><Relationship Id="rId15" Type="http://schemas.openxmlformats.org/officeDocument/2006/relationships/slideLayout" Target="../slideLayouts/slideLayout34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344.xml"/><Relationship Id="rId19" Type="http://schemas.openxmlformats.org/officeDocument/2006/relationships/slideLayout" Target="../slideLayouts/slideLayout353.xml"/><Relationship Id="rId4" Type="http://schemas.openxmlformats.org/officeDocument/2006/relationships/slideLayout" Target="../slideLayouts/slideLayout338.xml"/><Relationship Id="rId9" Type="http://schemas.openxmlformats.org/officeDocument/2006/relationships/slideLayout" Target="../slideLayouts/slideLayout343.xml"/><Relationship Id="rId14" Type="http://schemas.openxmlformats.org/officeDocument/2006/relationships/slideLayout" Target="../slideLayouts/slideLayout348.xml"/><Relationship Id="rId22" Type="http://schemas.openxmlformats.org/officeDocument/2006/relationships/slideLayout" Target="../slideLayouts/slideLayout356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9.xml"/><Relationship Id="rId18" Type="http://schemas.openxmlformats.org/officeDocument/2006/relationships/slideLayout" Target="../slideLayouts/slideLayout374.xml"/><Relationship Id="rId26" Type="http://schemas.openxmlformats.org/officeDocument/2006/relationships/slideLayout" Target="../slideLayouts/slideLayout382.xml"/><Relationship Id="rId39" Type="http://schemas.openxmlformats.org/officeDocument/2006/relationships/slideLayout" Target="../slideLayouts/slideLayout395.xml"/><Relationship Id="rId3" Type="http://schemas.openxmlformats.org/officeDocument/2006/relationships/slideLayout" Target="../slideLayouts/slideLayout359.xml"/><Relationship Id="rId21" Type="http://schemas.openxmlformats.org/officeDocument/2006/relationships/slideLayout" Target="../slideLayouts/slideLayout377.xml"/><Relationship Id="rId34" Type="http://schemas.openxmlformats.org/officeDocument/2006/relationships/slideLayout" Target="../slideLayouts/slideLayout390.xml"/><Relationship Id="rId42" Type="http://schemas.openxmlformats.org/officeDocument/2006/relationships/slideLayout" Target="../slideLayouts/slideLayout398.xml"/><Relationship Id="rId47" Type="http://schemas.openxmlformats.org/officeDocument/2006/relationships/slideLayout" Target="../slideLayouts/slideLayout403.xml"/><Relationship Id="rId50" Type="http://schemas.openxmlformats.org/officeDocument/2006/relationships/slideLayout" Target="../slideLayouts/slideLayout406.xml"/><Relationship Id="rId7" Type="http://schemas.openxmlformats.org/officeDocument/2006/relationships/slideLayout" Target="../slideLayouts/slideLayout363.xml"/><Relationship Id="rId12" Type="http://schemas.openxmlformats.org/officeDocument/2006/relationships/slideLayout" Target="../slideLayouts/slideLayout368.xml"/><Relationship Id="rId17" Type="http://schemas.openxmlformats.org/officeDocument/2006/relationships/slideLayout" Target="../slideLayouts/slideLayout373.xml"/><Relationship Id="rId25" Type="http://schemas.openxmlformats.org/officeDocument/2006/relationships/slideLayout" Target="../slideLayouts/slideLayout381.xml"/><Relationship Id="rId33" Type="http://schemas.openxmlformats.org/officeDocument/2006/relationships/slideLayout" Target="../slideLayouts/slideLayout389.xml"/><Relationship Id="rId38" Type="http://schemas.openxmlformats.org/officeDocument/2006/relationships/slideLayout" Target="../slideLayouts/slideLayout394.xml"/><Relationship Id="rId46" Type="http://schemas.openxmlformats.org/officeDocument/2006/relationships/slideLayout" Target="../slideLayouts/slideLayout402.xml"/><Relationship Id="rId2" Type="http://schemas.openxmlformats.org/officeDocument/2006/relationships/slideLayout" Target="../slideLayouts/slideLayout358.xml"/><Relationship Id="rId16" Type="http://schemas.openxmlformats.org/officeDocument/2006/relationships/slideLayout" Target="../slideLayouts/slideLayout372.xml"/><Relationship Id="rId20" Type="http://schemas.openxmlformats.org/officeDocument/2006/relationships/slideLayout" Target="../slideLayouts/slideLayout376.xml"/><Relationship Id="rId29" Type="http://schemas.openxmlformats.org/officeDocument/2006/relationships/slideLayout" Target="../slideLayouts/slideLayout385.xml"/><Relationship Id="rId41" Type="http://schemas.openxmlformats.org/officeDocument/2006/relationships/slideLayout" Target="../slideLayouts/slideLayout397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slideLayout" Target="../slideLayouts/slideLayout367.xml"/><Relationship Id="rId24" Type="http://schemas.openxmlformats.org/officeDocument/2006/relationships/slideLayout" Target="../slideLayouts/slideLayout380.xml"/><Relationship Id="rId32" Type="http://schemas.openxmlformats.org/officeDocument/2006/relationships/slideLayout" Target="../slideLayouts/slideLayout388.xml"/><Relationship Id="rId37" Type="http://schemas.openxmlformats.org/officeDocument/2006/relationships/slideLayout" Target="../slideLayouts/slideLayout393.xml"/><Relationship Id="rId40" Type="http://schemas.openxmlformats.org/officeDocument/2006/relationships/slideLayout" Target="../slideLayouts/slideLayout396.xml"/><Relationship Id="rId45" Type="http://schemas.openxmlformats.org/officeDocument/2006/relationships/slideLayout" Target="../slideLayouts/slideLayout401.xml"/><Relationship Id="rId53" Type="http://schemas.openxmlformats.org/officeDocument/2006/relationships/theme" Target="../theme/theme9.xml"/><Relationship Id="rId5" Type="http://schemas.openxmlformats.org/officeDocument/2006/relationships/slideLayout" Target="../slideLayouts/slideLayout361.xml"/><Relationship Id="rId15" Type="http://schemas.openxmlformats.org/officeDocument/2006/relationships/slideLayout" Target="../slideLayouts/slideLayout371.xml"/><Relationship Id="rId23" Type="http://schemas.openxmlformats.org/officeDocument/2006/relationships/slideLayout" Target="../slideLayouts/slideLayout379.xml"/><Relationship Id="rId28" Type="http://schemas.openxmlformats.org/officeDocument/2006/relationships/slideLayout" Target="../slideLayouts/slideLayout384.xml"/><Relationship Id="rId36" Type="http://schemas.openxmlformats.org/officeDocument/2006/relationships/slideLayout" Target="../slideLayouts/slideLayout392.xml"/><Relationship Id="rId49" Type="http://schemas.openxmlformats.org/officeDocument/2006/relationships/slideLayout" Target="../slideLayouts/slideLayout405.xml"/><Relationship Id="rId10" Type="http://schemas.openxmlformats.org/officeDocument/2006/relationships/slideLayout" Target="../slideLayouts/slideLayout366.xml"/><Relationship Id="rId19" Type="http://schemas.openxmlformats.org/officeDocument/2006/relationships/slideLayout" Target="../slideLayouts/slideLayout375.xml"/><Relationship Id="rId31" Type="http://schemas.openxmlformats.org/officeDocument/2006/relationships/slideLayout" Target="../slideLayouts/slideLayout387.xml"/><Relationship Id="rId44" Type="http://schemas.openxmlformats.org/officeDocument/2006/relationships/slideLayout" Target="../slideLayouts/slideLayout400.xml"/><Relationship Id="rId52" Type="http://schemas.openxmlformats.org/officeDocument/2006/relationships/slideLayout" Target="../slideLayouts/slideLayout408.xml"/><Relationship Id="rId4" Type="http://schemas.openxmlformats.org/officeDocument/2006/relationships/slideLayout" Target="../slideLayouts/slideLayout360.xml"/><Relationship Id="rId9" Type="http://schemas.openxmlformats.org/officeDocument/2006/relationships/slideLayout" Target="../slideLayouts/slideLayout365.xml"/><Relationship Id="rId14" Type="http://schemas.openxmlformats.org/officeDocument/2006/relationships/slideLayout" Target="../slideLayouts/slideLayout370.xml"/><Relationship Id="rId22" Type="http://schemas.openxmlformats.org/officeDocument/2006/relationships/slideLayout" Target="../slideLayouts/slideLayout378.xml"/><Relationship Id="rId27" Type="http://schemas.openxmlformats.org/officeDocument/2006/relationships/slideLayout" Target="../slideLayouts/slideLayout383.xml"/><Relationship Id="rId30" Type="http://schemas.openxmlformats.org/officeDocument/2006/relationships/slideLayout" Target="../slideLayouts/slideLayout386.xml"/><Relationship Id="rId35" Type="http://schemas.openxmlformats.org/officeDocument/2006/relationships/slideLayout" Target="../slideLayouts/slideLayout391.xml"/><Relationship Id="rId43" Type="http://schemas.openxmlformats.org/officeDocument/2006/relationships/slideLayout" Target="../slideLayouts/slideLayout399.xml"/><Relationship Id="rId48" Type="http://schemas.openxmlformats.org/officeDocument/2006/relationships/slideLayout" Target="../slideLayouts/slideLayout404.xml"/><Relationship Id="rId8" Type="http://schemas.openxmlformats.org/officeDocument/2006/relationships/slideLayout" Target="../slideLayouts/slideLayout364.xml"/><Relationship Id="rId51" Type="http://schemas.openxmlformats.org/officeDocument/2006/relationships/slideLayout" Target="../slideLayouts/slideLayout4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81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7" r:id="rId55"/>
    <p:sldLayoutId id="2147483768" r:id="rId56"/>
    <p:sldLayoutId id="2147485902" r:id="rId57"/>
    <p:sldLayoutId id="2147485903" r:id="rId58"/>
    <p:sldLayoutId id="2147485904" r:id="rId5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algn="r" rtl="1"/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algn="r" rtl="1"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1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20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  <p:sldLayoutId id="2147484610" r:id="rId9"/>
    <p:sldLayoutId id="2147484611" r:id="rId10"/>
    <p:sldLayoutId id="2147484612" r:id="rId11"/>
    <p:sldLayoutId id="2147484613" r:id="rId12"/>
    <p:sldLayoutId id="2147484614" r:id="rId13"/>
    <p:sldLayoutId id="2147484615" r:id="rId14"/>
    <p:sldLayoutId id="2147484616" r:id="rId15"/>
    <p:sldLayoutId id="2147484617" r:id="rId16"/>
    <p:sldLayoutId id="2147484618" r:id="rId17"/>
    <p:sldLayoutId id="2147484619" r:id="rId18"/>
    <p:sldLayoutId id="2147484620" r:id="rId19"/>
    <p:sldLayoutId id="2147484621" r:id="rId20"/>
    <p:sldLayoutId id="2147484622" r:id="rId21"/>
    <p:sldLayoutId id="2147484623" r:id="rId22"/>
    <p:sldLayoutId id="2147484624" r:id="rId23"/>
    <p:sldLayoutId id="2147484625" r:id="rId24"/>
    <p:sldLayoutId id="2147484626" r:id="rId25"/>
    <p:sldLayoutId id="2147484627" r:id="rId26"/>
    <p:sldLayoutId id="2147484628" r:id="rId27"/>
    <p:sldLayoutId id="2147484629" r:id="rId28"/>
    <p:sldLayoutId id="2147484630" r:id="rId29"/>
    <p:sldLayoutId id="2147484631" r:id="rId30"/>
    <p:sldLayoutId id="2147484632" r:id="rId31"/>
    <p:sldLayoutId id="2147484633" r:id="rId32"/>
    <p:sldLayoutId id="2147484634" r:id="rId33"/>
    <p:sldLayoutId id="2147484635" r:id="rId34"/>
    <p:sldLayoutId id="2147484636" r:id="rId35"/>
    <p:sldLayoutId id="2147484637" r:id="rId36"/>
    <p:sldLayoutId id="2147484638" r:id="rId37"/>
    <p:sldLayoutId id="2147484639" r:id="rId38"/>
    <p:sldLayoutId id="2147484640" r:id="rId39"/>
    <p:sldLayoutId id="2147484641" r:id="rId40"/>
    <p:sldLayoutId id="2147484642" r:id="rId4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algn="r" rtl="1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algn="r" rtl="1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1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675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4" r:id="rId1"/>
    <p:sldLayoutId id="2147484645" r:id="rId2"/>
    <p:sldLayoutId id="2147484646" r:id="rId3"/>
    <p:sldLayoutId id="2147484647" r:id="rId4"/>
    <p:sldLayoutId id="2147484648" r:id="rId5"/>
    <p:sldLayoutId id="2147484649" r:id="rId6"/>
    <p:sldLayoutId id="2147484650" r:id="rId7"/>
    <p:sldLayoutId id="2147484651" r:id="rId8"/>
    <p:sldLayoutId id="2147484652" r:id="rId9"/>
    <p:sldLayoutId id="2147484653" r:id="rId10"/>
    <p:sldLayoutId id="2147484654" r:id="rId11"/>
    <p:sldLayoutId id="2147484655" r:id="rId12"/>
    <p:sldLayoutId id="2147484656" r:id="rId13"/>
    <p:sldLayoutId id="2147484657" r:id="rId14"/>
    <p:sldLayoutId id="2147484658" r:id="rId15"/>
    <p:sldLayoutId id="2147484659" r:id="rId16"/>
    <p:sldLayoutId id="2147484660" r:id="rId17"/>
    <p:sldLayoutId id="2147484661" r:id="rId18"/>
    <p:sldLayoutId id="2147484662" r:id="rId19"/>
    <p:sldLayoutId id="2147484663" r:id="rId20"/>
    <p:sldLayoutId id="2147484664" r:id="rId21"/>
    <p:sldLayoutId id="2147484665" r:id="rId22"/>
    <p:sldLayoutId id="2147484666" r:id="rId23"/>
    <p:sldLayoutId id="2147484667" r:id="rId24"/>
    <p:sldLayoutId id="2147484668" r:id="rId25"/>
    <p:sldLayoutId id="2147484669" r:id="rId26"/>
    <p:sldLayoutId id="2147484670" r:id="rId27"/>
    <p:sldLayoutId id="2147484671" r:id="rId28"/>
    <p:sldLayoutId id="2147484672" r:id="rId29"/>
    <p:sldLayoutId id="2147484673" r:id="rId30"/>
    <p:sldLayoutId id="2147484674" r:id="rId31"/>
    <p:sldLayoutId id="2147484675" r:id="rId32"/>
    <p:sldLayoutId id="2147484676" r:id="rId33"/>
    <p:sldLayoutId id="2147484677" r:id="rId34"/>
    <p:sldLayoutId id="2147484678" r:id="rId35"/>
    <p:sldLayoutId id="2147484679" r:id="rId36"/>
    <p:sldLayoutId id="2147484680" r:id="rId37"/>
    <p:sldLayoutId id="2147484681" r:id="rId38"/>
    <p:sldLayoutId id="2147484682" r:id="rId39"/>
    <p:sldLayoutId id="2147484683" r:id="rId40"/>
    <p:sldLayoutId id="2147484684" r:id="rId41"/>
    <p:sldLayoutId id="2147484685" r:id="rId42"/>
    <p:sldLayoutId id="2147484686" r:id="rId43"/>
    <p:sldLayoutId id="2147484687" r:id="rId44"/>
    <p:sldLayoutId id="2147484688" r:id="rId45"/>
    <p:sldLayoutId id="2147484689" r:id="rId46"/>
    <p:sldLayoutId id="2147484690" r:id="rId47"/>
    <p:sldLayoutId id="2147484691" r:id="rId48"/>
    <p:sldLayoutId id="2147484692" r:id="rId49"/>
    <p:sldLayoutId id="2147484693" r:id="rId50"/>
    <p:sldLayoutId id="2147484694" r:id="rId51"/>
    <p:sldLayoutId id="2147484695" r:id="rId52"/>
    <p:sldLayoutId id="2147484696" r:id="rId53"/>
    <p:sldLayoutId id="2147484697" r:id="rId54"/>
    <p:sldLayoutId id="2147484698" r:id="rId55"/>
    <p:sldLayoutId id="2147484699" r:id="rId56"/>
    <p:sldLayoutId id="2147484700" r:id="rId57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6787" y="429275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7" y="1825625"/>
            <a:ext cx="1031176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rot="10800000">
            <a:off x="-4" y="-4"/>
            <a:ext cx="1050135" cy="156755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1311011" y="6527387"/>
            <a:ext cx="740367" cy="179271"/>
            <a:chOff x="-504825" y="3757613"/>
            <a:chExt cx="1009650" cy="244475"/>
          </a:xfrm>
          <a:solidFill>
            <a:schemeClr val="bg1">
              <a:lumMod val="85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3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28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6" r:id="rId1"/>
    <p:sldLayoutId id="2147484787" r:id="rId2"/>
    <p:sldLayoutId id="2147484788" r:id="rId3"/>
    <p:sldLayoutId id="2147484789" r:id="rId4"/>
    <p:sldLayoutId id="2147484790" r:id="rId5"/>
    <p:sldLayoutId id="2147484791" r:id="rId6"/>
    <p:sldLayoutId id="2147484792" r:id="rId7"/>
    <p:sldLayoutId id="2147484793" r:id="rId8"/>
    <p:sldLayoutId id="2147484794" r:id="rId9"/>
    <p:sldLayoutId id="2147484795" r:id="rId10"/>
    <p:sldLayoutId id="2147484796" r:id="rId11"/>
    <p:sldLayoutId id="2147484797" r:id="rId12"/>
    <p:sldLayoutId id="2147484798" r:id="rId13"/>
    <p:sldLayoutId id="2147484799" r:id="rId14"/>
    <p:sldLayoutId id="2147484800" r:id="rId15"/>
    <p:sldLayoutId id="2147484801" r:id="rId16"/>
    <p:sldLayoutId id="2147484802" r:id="rId17"/>
    <p:sldLayoutId id="2147484803" r:id="rId18"/>
    <p:sldLayoutId id="2147484804" r:id="rId19"/>
    <p:sldLayoutId id="2147484805" r:id="rId20"/>
    <p:sldLayoutId id="2147484806" r:id="rId21"/>
    <p:sldLayoutId id="2147484807" r:id="rId22"/>
    <p:sldLayoutId id="2147484808" r:id="rId23"/>
    <p:sldLayoutId id="2147484809" r:id="rId24"/>
    <p:sldLayoutId id="2147484810" r:id="rId25"/>
    <p:sldLayoutId id="2147484811" r:id="rId26"/>
    <p:sldLayoutId id="2147484812" r:id="rId27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31" indent="-171442" algn="l" defTabSz="914354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72" indent="-171442" algn="l" defTabSz="914354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13" indent="-171442" algn="l" defTabSz="914354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54" indent="-171442" algn="l" defTabSz="914354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14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algn="r" rtl="1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algn="r" rtl="1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rtl="1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1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98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3" r:id="rId1"/>
    <p:sldLayoutId id="2147485164" r:id="rId2"/>
    <p:sldLayoutId id="2147485165" r:id="rId3"/>
    <p:sldLayoutId id="2147485166" r:id="rId4"/>
    <p:sldLayoutId id="2147485167" r:id="rId5"/>
    <p:sldLayoutId id="2147485168" r:id="rId6"/>
    <p:sldLayoutId id="2147485169" r:id="rId7"/>
    <p:sldLayoutId id="2147485170" r:id="rId8"/>
    <p:sldLayoutId id="2147485171" r:id="rId9"/>
    <p:sldLayoutId id="2147485172" r:id="rId10"/>
    <p:sldLayoutId id="2147485173" r:id="rId11"/>
    <p:sldLayoutId id="2147485174" r:id="rId12"/>
    <p:sldLayoutId id="2147485175" r:id="rId13"/>
    <p:sldLayoutId id="2147485176" r:id="rId14"/>
    <p:sldLayoutId id="2147485177" r:id="rId15"/>
    <p:sldLayoutId id="2147485178" r:id="rId16"/>
    <p:sldLayoutId id="2147485179" r:id="rId17"/>
    <p:sldLayoutId id="2147485180" r:id="rId18"/>
    <p:sldLayoutId id="2147485181" r:id="rId19"/>
    <p:sldLayoutId id="2147485182" r:id="rId20"/>
    <p:sldLayoutId id="2147485183" r:id="rId21"/>
    <p:sldLayoutId id="2147485184" r:id="rId22"/>
    <p:sldLayoutId id="2147485185" r:id="rId23"/>
    <p:sldLayoutId id="2147485186" r:id="rId24"/>
    <p:sldLayoutId id="2147485187" r:id="rId25"/>
    <p:sldLayoutId id="2147485188" r:id="rId26"/>
    <p:sldLayoutId id="2147485189" r:id="rId27"/>
    <p:sldLayoutId id="2147485190" r:id="rId28"/>
    <p:sldLayoutId id="2147485191" r:id="rId29"/>
    <p:sldLayoutId id="2147485192" r:id="rId30"/>
    <p:sldLayoutId id="2147485193" r:id="rId31"/>
    <p:sldLayoutId id="2147485194" r:id="rId32"/>
    <p:sldLayoutId id="2147485195" r:id="rId33"/>
    <p:sldLayoutId id="2147485196" r:id="rId34"/>
    <p:sldLayoutId id="2147485197" r:id="rId35"/>
    <p:sldLayoutId id="2147485198" r:id="rId36"/>
    <p:sldLayoutId id="2147485199" r:id="rId37"/>
    <p:sldLayoutId id="2147485200" r:id="rId38"/>
    <p:sldLayoutId id="2147485201" r:id="rId39"/>
    <p:sldLayoutId id="2147485202" r:id="rId40"/>
    <p:sldLayoutId id="2147485203" r:id="rId41"/>
    <p:sldLayoutId id="2147485204" r:id="rId42"/>
    <p:sldLayoutId id="2147485205" r:id="rId43"/>
    <p:sldLayoutId id="2147485206" r:id="rId44"/>
    <p:sldLayoutId id="2147485207" r:id="rId45"/>
    <p:sldLayoutId id="2147485208" r:id="rId46"/>
    <p:sldLayoutId id="2147485209" r:id="rId47"/>
    <p:sldLayoutId id="2147485210" r:id="rId48"/>
    <p:sldLayoutId id="2147485211" r:id="rId49"/>
    <p:sldLayoutId id="2147485212" r:id="rId50"/>
    <p:sldLayoutId id="2147485213" r:id="rId51"/>
    <p:sldLayoutId id="2147485214" r:id="rId52"/>
    <p:sldLayoutId id="2147485215" r:id="rId53"/>
    <p:sldLayoutId id="2147485216" r:id="rId54"/>
    <p:sldLayoutId id="2147485217" r:id="rId55"/>
    <p:sldLayoutId id="2147485218" r:id="rId56"/>
    <p:sldLayoutId id="2147485219" r:id="rId57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32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  <p:sldLayoutId id="2147485229" r:id="rId9"/>
    <p:sldLayoutId id="2147485230" r:id="rId10"/>
    <p:sldLayoutId id="2147485231" r:id="rId11"/>
    <p:sldLayoutId id="2147485232" r:id="rId12"/>
    <p:sldLayoutId id="2147485233" r:id="rId13"/>
    <p:sldLayoutId id="2147485234" r:id="rId14"/>
    <p:sldLayoutId id="2147485235" r:id="rId15"/>
    <p:sldLayoutId id="2147485236" r:id="rId16"/>
    <p:sldLayoutId id="2147485237" r:id="rId17"/>
    <p:sldLayoutId id="2147485238" r:id="rId18"/>
    <p:sldLayoutId id="2147485239" r:id="rId19"/>
    <p:sldLayoutId id="2147485240" r:id="rId20"/>
    <p:sldLayoutId id="2147485241" r:id="rId21"/>
    <p:sldLayoutId id="2147485242" r:id="rId22"/>
    <p:sldLayoutId id="2147485243" r:id="rId23"/>
    <p:sldLayoutId id="2147485244" r:id="rId24"/>
    <p:sldLayoutId id="2147485245" r:id="rId25"/>
    <p:sldLayoutId id="2147485246" r:id="rId26"/>
    <p:sldLayoutId id="2147485247" r:id="rId27"/>
    <p:sldLayoutId id="2147485248" r:id="rId28"/>
    <p:sldLayoutId id="2147485249" r:id="rId29"/>
    <p:sldLayoutId id="2147485250" r:id="rId30"/>
    <p:sldLayoutId id="2147485251" r:id="rId31"/>
    <p:sldLayoutId id="2147485252" r:id="rId32"/>
    <p:sldLayoutId id="2147485253" r:id="rId33"/>
    <p:sldLayoutId id="2147485254" r:id="rId34"/>
    <p:sldLayoutId id="2147485255" r:id="rId35"/>
    <p:sldLayoutId id="2147485256" r:id="rId36"/>
    <p:sldLayoutId id="2147485257" r:id="rId37"/>
    <p:sldLayoutId id="2147485258" r:id="rId38"/>
    <p:sldLayoutId id="2147485259" r:id="rId39"/>
    <p:sldLayoutId id="2147485260" r:id="rId40"/>
    <p:sldLayoutId id="2147485261" r:id="rId41"/>
    <p:sldLayoutId id="2147485262" r:id="rId42"/>
    <p:sldLayoutId id="2147485263" r:id="rId43"/>
    <p:sldLayoutId id="2147485264" r:id="rId44"/>
    <p:sldLayoutId id="2147485265" r:id="rId45"/>
    <p:sldLayoutId id="2147485266" r:id="rId46"/>
    <p:sldLayoutId id="2147485267" r:id="rId47"/>
    <p:sldLayoutId id="2147485268" r:id="rId48"/>
    <p:sldLayoutId id="2147485269" r:id="rId49"/>
    <p:sldLayoutId id="2147485270" r:id="rId50"/>
    <p:sldLayoutId id="2147485271" r:id="rId51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094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6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4" r:id="rId1"/>
    <p:sldLayoutId id="2147485275" r:id="rId2"/>
    <p:sldLayoutId id="2147485276" r:id="rId3"/>
    <p:sldLayoutId id="2147485277" r:id="rId4"/>
    <p:sldLayoutId id="2147485278" r:id="rId5"/>
    <p:sldLayoutId id="2147485279" r:id="rId6"/>
    <p:sldLayoutId id="2147485280" r:id="rId7"/>
    <p:sldLayoutId id="2147485281" r:id="rId8"/>
    <p:sldLayoutId id="2147485282" r:id="rId9"/>
    <p:sldLayoutId id="2147485283" r:id="rId10"/>
    <p:sldLayoutId id="2147485284" r:id="rId11"/>
    <p:sldLayoutId id="2147485285" r:id="rId12"/>
    <p:sldLayoutId id="2147485286" r:id="rId13"/>
    <p:sldLayoutId id="2147485287" r:id="rId14"/>
    <p:sldLayoutId id="2147485288" r:id="rId15"/>
    <p:sldLayoutId id="2147485289" r:id="rId16"/>
    <p:sldLayoutId id="2147485290" r:id="rId17"/>
    <p:sldLayoutId id="2147485291" r:id="rId18"/>
    <p:sldLayoutId id="2147485292" r:id="rId19"/>
    <p:sldLayoutId id="2147485293" r:id="rId20"/>
    <p:sldLayoutId id="2147485294" r:id="rId21"/>
    <p:sldLayoutId id="2147485295" r:id="rId22"/>
    <p:sldLayoutId id="2147485296" r:id="rId23"/>
    <p:sldLayoutId id="2147485297" r:id="rId24"/>
    <p:sldLayoutId id="2147485298" r:id="rId25"/>
    <p:sldLayoutId id="2147485299" r:id="rId26"/>
    <p:sldLayoutId id="2147485300" r:id="rId27"/>
    <p:sldLayoutId id="2147485301" r:id="rId28"/>
    <p:sldLayoutId id="2147485302" r:id="rId29"/>
    <p:sldLayoutId id="2147485303" r:id="rId30"/>
    <p:sldLayoutId id="2147485304" r:id="rId31"/>
    <p:sldLayoutId id="2147485305" r:id="rId32"/>
    <p:sldLayoutId id="2147485306" r:id="rId33"/>
    <p:sldLayoutId id="2147485307" r:id="rId34"/>
    <p:sldLayoutId id="2147485308" r:id="rId35"/>
    <p:sldLayoutId id="2147485309" r:id="rId36"/>
    <p:sldLayoutId id="2147485310" r:id="rId37"/>
    <p:sldLayoutId id="2147485311" r:id="rId38"/>
    <p:sldLayoutId id="2147485312" r:id="rId39"/>
    <p:sldLayoutId id="2147485313" r:id="rId40"/>
    <p:sldLayoutId id="2147485314" r:id="rId41"/>
    <p:sldLayoutId id="2147485315" r:id="rId42"/>
    <p:sldLayoutId id="2147485316" r:id="rId43"/>
    <p:sldLayoutId id="2147485317" r:id="rId44"/>
    <p:sldLayoutId id="2147485318" r:id="rId45"/>
    <p:sldLayoutId id="2147485319" r:id="rId46"/>
    <p:sldLayoutId id="2147485320" r:id="rId47"/>
    <p:sldLayoutId id="2147485321" r:id="rId48"/>
    <p:sldLayoutId id="2147485322" r:id="rId49"/>
    <p:sldLayoutId id="2147485323" r:id="rId50"/>
    <p:sldLayoutId id="2147485324" r:id="rId5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094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727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0" r:id="rId1"/>
    <p:sldLayoutId id="2147485331" r:id="rId2"/>
    <p:sldLayoutId id="2147485332" r:id="rId3"/>
    <p:sldLayoutId id="2147485333" r:id="rId4"/>
    <p:sldLayoutId id="2147485334" r:id="rId5"/>
    <p:sldLayoutId id="2147485335" r:id="rId6"/>
    <p:sldLayoutId id="2147485336" r:id="rId7"/>
    <p:sldLayoutId id="2147485337" r:id="rId8"/>
    <p:sldLayoutId id="2147485338" r:id="rId9"/>
    <p:sldLayoutId id="2147485339" r:id="rId10"/>
    <p:sldLayoutId id="2147485340" r:id="rId11"/>
    <p:sldLayoutId id="2147485341" r:id="rId12"/>
    <p:sldLayoutId id="2147485342" r:id="rId13"/>
    <p:sldLayoutId id="2147485343" r:id="rId14"/>
    <p:sldLayoutId id="2147485344" r:id="rId15"/>
    <p:sldLayoutId id="2147485345" r:id="rId16"/>
    <p:sldLayoutId id="2147485346" r:id="rId17"/>
    <p:sldLayoutId id="2147485347" r:id="rId18"/>
    <p:sldLayoutId id="2147485348" r:id="rId19"/>
    <p:sldLayoutId id="2147485349" r:id="rId20"/>
    <p:sldLayoutId id="2147485350" r:id="rId21"/>
    <p:sldLayoutId id="2147485351" r:id="rId22"/>
    <p:sldLayoutId id="2147485352" r:id="rId23"/>
    <p:sldLayoutId id="2147485353" r:id="rId24"/>
    <p:sldLayoutId id="2147485354" r:id="rId25"/>
    <p:sldLayoutId id="2147485355" r:id="rId26"/>
    <p:sldLayoutId id="2147485356" r:id="rId27"/>
    <p:sldLayoutId id="2147485357" r:id="rId28"/>
    <p:sldLayoutId id="2147485358" r:id="rId29"/>
    <p:sldLayoutId id="2147485359" r:id="rId30"/>
    <p:sldLayoutId id="2147485360" r:id="rId31"/>
    <p:sldLayoutId id="2147485361" r:id="rId32"/>
    <p:sldLayoutId id="2147485362" r:id="rId33"/>
    <p:sldLayoutId id="2147485363" r:id="rId34"/>
    <p:sldLayoutId id="2147485364" r:id="rId35"/>
    <p:sldLayoutId id="2147485365" r:id="rId36"/>
    <p:sldLayoutId id="2147485366" r:id="rId37"/>
    <p:sldLayoutId id="2147485367" r:id="rId38"/>
    <p:sldLayoutId id="2147485368" r:id="rId39"/>
    <p:sldLayoutId id="2147485369" r:id="rId40"/>
    <p:sldLayoutId id="2147485370" r:id="rId41"/>
    <p:sldLayoutId id="2147485371" r:id="rId42"/>
    <p:sldLayoutId id="2147485372" r:id="rId43"/>
    <p:sldLayoutId id="2147485373" r:id="rId44"/>
    <p:sldLayoutId id="2147485374" r:id="rId45"/>
    <p:sldLayoutId id="2147485375" r:id="rId46"/>
    <p:sldLayoutId id="2147485376" r:id="rId47"/>
    <p:sldLayoutId id="2147485377" r:id="rId4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124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  <p:sldLayoutId id="2147485389" r:id="rId11"/>
    <p:sldLayoutId id="2147485390" r:id="rId12"/>
    <p:sldLayoutId id="2147485391" r:id="rId13"/>
    <p:sldLayoutId id="2147485392" r:id="rId14"/>
    <p:sldLayoutId id="2147485393" r:id="rId15"/>
    <p:sldLayoutId id="2147485394" r:id="rId16"/>
    <p:sldLayoutId id="2147485395" r:id="rId17"/>
    <p:sldLayoutId id="2147485396" r:id="rId18"/>
    <p:sldLayoutId id="2147485397" r:id="rId19"/>
    <p:sldLayoutId id="2147485398" r:id="rId20"/>
    <p:sldLayoutId id="2147485399" r:id="rId21"/>
    <p:sldLayoutId id="2147485400" r:id="rId22"/>
    <p:sldLayoutId id="2147485401" r:id="rId23"/>
    <p:sldLayoutId id="2147485402" r:id="rId24"/>
    <p:sldLayoutId id="2147485403" r:id="rId25"/>
    <p:sldLayoutId id="2147485404" r:id="rId26"/>
    <p:sldLayoutId id="2147485405" r:id="rId27"/>
    <p:sldLayoutId id="2147485406" r:id="rId28"/>
    <p:sldLayoutId id="2147485407" r:id="rId29"/>
    <p:sldLayoutId id="2147485408" r:id="rId30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003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7" r:id="rId1"/>
    <p:sldLayoutId id="2147485548" r:id="rId2"/>
    <p:sldLayoutId id="2147485549" r:id="rId3"/>
    <p:sldLayoutId id="2147485550" r:id="rId4"/>
    <p:sldLayoutId id="2147485551" r:id="rId5"/>
    <p:sldLayoutId id="2147485552" r:id="rId6"/>
    <p:sldLayoutId id="2147485553" r:id="rId7"/>
    <p:sldLayoutId id="2147485554" r:id="rId8"/>
    <p:sldLayoutId id="2147485555" r:id="rId9"/>
    <p:sldLayoutId id="2147485556" r:id="rId10"/>
    <p:sldLayoutId id="2147485557" r:id="rId11"/>
    <p:sldLayoutId id="2147485558" r:id="rId12"/>
    <p:sldLayoutId id="2147485559" r:id="rId13"/>
    <p:sldLayoutId id="2147485560" r:id="rId14"/>
    <p:sldLayoutId id="2147485561" r:id="rId15"/>
    <p:sldLayoutId id="2147485562" r:id="rId16"/>
    <p:sldLayoutId id="2147485563" r:id="rId17"/>
    <p:sldLayoutId id="2147485564" r:id="rId18"/>
    <p:sldLayoutId id="2147485565" r:id="rId19"/>
    <p:sldLayoutId id="2147485566" r:id="rId20"/>
    <p:sldLayoutId id="2147485567" r:id="rId21"/>
    <p:sldLayoutId id="2147485568" r:id="rId22"/>
    <p:sldLayoutId id="2147485569" r:id="rId23"/>
    <p:sldLayoutId id="2147485570" r:id="rId24"/>
    <p:sldLayoutId id="2147485571" r:id="rId25"/>
    <p:sldLayoutId id="2147485572" r:id="rId26"/>
    <p:sldLayoutId id="2147485573" r:id="rId27"/>
    <p:sldLayoutId id="2147485574" r:id="rId28"/>
    <p:sldLayoutId id="2147485575" r:id="rId29"/>
    <p:sldLayoutId id="2147485576" r:id="rId30"/>
    <p:sldLayoutId id="2147485577" r:id="rId31"/>
    <p:sldLayoutId id="2147485578" r:id="rId32"/>
    <p:sldLayoutId id="2147485579" r:id="rId33"/>
    <p:sldLayoutId id="2147485580" r:id="rId34"/>
    <p:sldLayoutId id="2147485581" r:id="rId35"/>
    <p:sldLayoutId id="2147485582" r:id="rId36"/>
    <p:sldLayoutId id="2147485583" r:id="rId37"/>
    <p:sldLayoutId id="2147485584" r:id="rId38"/>
    <p:sldLayoutId id="2147485585" r:id="rId39"/>
    <p:sldLayoutId id="2147485586" r:id="rId40"/>
    <p:sldLayoutId id="2147485587" r:id="rId41"/>
    <p:sldLayoutId id="2147485588" r:id="rId42"/>
    <p:sldLayoutId id="2147485589" r:id="rId43"/>
    <p:sldLayoutId id="2147485590" r:id="rId44"/>
    <p:sldLayoutId id="2147485591" r:id="rId45"/>
    <p:sldLayoutId id="2147485592" r:id="rId46"/>
    <p:sldLayoutId id="2147485593" r:id="rId47"/>
    <p:sldLayoutId id="2147485594" r:id="rId48"/>
    <p:sldLayoutId id="2147485595" r:id="rId49"/>
    <p:sldLayoutId id="2147485596" r:id="rId50"/>
    <p:sldLayoutId id="2147485597" r:id="rId5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93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5" r:id="rId1"/>
    <p:sldLayoutId id="2147485656" r:id="rId2"/>
    <p:sldLayoutId id="2147485657" r:id="rId3"/>
    <p:sldLayoutId id="2147485658" r:id="rId4"/>
    <p:sldLayoutId id="2147485659" r:id="rId5"/>
    <p:sldLayoutId id="2147485660" r:id="rId6"/>
    <p:sldLayoutId id="2147485661" r:id="rId7"/>
    <p:sldLayoutId id="2147485662" r:id="rId8"/>
    <p:sldLayoutId id="2147485663" r:id="rId9"/>
    <p:sldLayoutId id="2147485664" r:id="rId10"/>
    <p:sldLayoutId id="2147485665" r:id="rId11"/>
    <p:sldLayoutId id="2147485666" r:id="rId12"/>
    <p:sldLayoutId id="2147485667" r:id="rId13"/>
    <p:sldLayoutId id="2147485668" r:id="rId14"/>
    <p:sldLayoutId id="2147485669" r:id="rId15"/>
    <p:sldLayoutId id="2147485670" r:id="rId16"/>
    <p:sldLayoutId id="2147485671" r:id="rId17"/>
    <p:sldLayoutId id="2147485672" r:id="rId18"/>
    <p:sldLayoutId id="2147485673" r:id="rId19"/>
    <p:sldLayoutId id="2147485674" r:id="rId20"/>
    <p:sldLayoutId id="2147485675" r:id="rId21"/>
    <p:sldLayoutId id="2147485676" r:id="rId22"/>
    <p:sldLayoutId id="2147485677" r:id="rId23"/>
    <p:sldLayoutId id="2147485678" r:id="rId24"/>
    <p:sldLayoutId id="2147485679" r:id="rId25"/>
    <p:sldLayoutId id="2147485680" r:id="rId26"/>
    <p:sldLayoutId id="2147485681" r:id="rId27"/>
    <p:sldLayoutId id="2147485682" r:id="rId28"/>
    <p:sldLayoutId id="2147485683" r:id="rId29"/>
    <p:sldLayoutId id="2147485684" r:id="rId30"/>
    <p:sldLayoutId id="2147485685" r:id="rId31"/>
    <p:sldLayoutId id="2147485686" r:id="rId32"/>
    <p:sldLayoutId id="2147485687" r:id="rId33"/>
    <p:sldLayoutId id="2147485688" r:id="rId34"/>
    <p:sldLayoutId id="2147485689" r:id="rId35"/>
    <p:sldLayoutId id="2147485690" r:id="rId36"/>
    <p:sldLayoutId id="2147485691" r:id="rId37"/>
    <p:sldLayoutId id="2147485692" r:id="rId38"/>
    <p:sldLayoutId id="2147485693" r:id="rId39"/>
    <p:sldLayoutId id="2147485694" r:id="rId40"/>
    <p:sldLayoutId id="2147485695" r:id="rId41"/>
    <p:sldLayoutId id="2147485696" r:id="rId42"/>
    <p:sldLayoutId id="2147485697" r:id="rId43"/>
    <p:sldLayoutId id="2147485698" r:id="rId44"/>
    <p:sldLayoutId id="2147485699" r:id="rId45"/>
    <p:sldLayoutId id="2147485700" r:id="rId46"/>
    <p:sldLayoutId id="2147485701" r:id="rId47"/>
    <p:sldLayoutId id="2147485702" r:id="rId48"/>
    <p:sldLayoutId id="2147485703" r:id="rId49"/>
    <p:sldLayoutId id="2147485704" r:id="rId50"/>
    <p:sldLayoutId id="2147485705" r:id="rId51"/>
    <p:sldLayoutId id="2147485706" r:id="rId5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75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  <p:sldLayoutId id="2147483936" r:id="rId20"/>
    <p:sldLayoutId id="2147483937" r:id="rId21"/>
    <p:sldLayoutId id="2147483938" r:id="rId22"/>
    <p:sldLayoutId id="2147483939" r:id="rId23"/>
    <p:sldLayoutId id="2147483940" r:id="rId24"/>
    <p:sldLayoutId id="2147483941" r:id="rId25"/>
    <p:sldLayoutId id="2147483942" r:id="rId26"/>
    <p:sldLayoutId id="2147483943" r:id="rId27"/>
    <p:sldLayoutId id="2147483944" r:id="rId28"/>
    <p:sldLayoutId id="2147483945" r:id="rId29"/>
    <p:sldLayoutId id="2147483946" r:id="rId30"/>
    <p:sldLayoutId id="2147483947" r:id="rId31"/>
    <p:sldLayoutId id="2147483948" r:id="rId32"/>
    <p:sldLayoutId id="2147483949" r:id="rId33"/>
    <p:sldLayoutId id="2147483950" r:id="rId34"/>
    <p:sldLayoutId id="2147483951" r:id="rId35"/>
    <p:sldLayoutId id="2147483952" r:id="rId36"/>
    <p:sldLayoutId id="2147483953" r:id="rId37"/>
    <p:sldLayoutId id="2147483954" r:id="rId38"/>
    <p:sldLayoutId id="2147483955" r:id="rId39"/>
    <p:sldLayoutId id="2147483956" r:id="rId40"/>
    <p:sldLayoutId id="2147483957" r:id="rId41"/>
    <p:sldLayoutId id="2147483958" r:id="rId42"/>
    <p:sldLayoutId id="2147483959" r:id="rId43"/>
    <p:sldLayoutId id="2147483960" r:id="rId44"/>
    <p:sldLayoutId id="2147483961" r:id="rId45"/>
    <p:sldLayoutId id="2147483962" r:id="rId46"/>
    <p:sldLayoutId id="2147483963" r:id="rId47"/>
    <p:sldLayoutId id="2147483964" r:id="rId48"/>
    <p:sldLayoutId id="2147483965" r:id="rId49"/>
    <p:sldLayoutId id="2147483966" r:id="rId50"/>
    <p:sldLayoutId id="2147483967" r:id="rId51"/>
    <p:sldLayoutId id="2147483968" r:id="rId52"/>
    <p:sldLayoutId id="2147483970" r:id="rId53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6" y="1825625"/>
            <a:ext cx="1031176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 rot="10800000">
            <a:off x="-4" y="-4"/>
            <a:ext cx="1050135" cy="156755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1311010" y="6527386"/>
            <a:ext cx="740367" cy="179271"/>
            <a:chOff x="-504825" y="3757613"/>
            <a:chExt cx="1009650" cy="244475"/>
          </a:xfrm>
          <a:solidFill>
            <a:schemeClr val="bg1">
              <a:lumMod val="85000"/>
            </a:schemeClr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3" name="Rectangle 22"/>
          <p:cNvSpPr/>
          <p:nvPr userDrawn="1"/>
        </p:nvSpPr>
        <p:spPr>
          <a:xfrm>
            <a:off x="0" y="6498237"/>
            <a:ext cx="231632" cy="824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825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0" r:id="rId1"/>
    <p:sldLayoutId id="2147485711" r:id="rId2"/>
    <p:sldLayoutId id="2147485712" r:id="rId3"/>
    <p:sldLayoutId id="2147485713" r:id="rId4"/>
    <p:sldLayoutId id="2147485714" r:id="rId5"/>
    <p:sldLayoutId id="2147485715" r:id="rId6"/>
    <p:sldLayoutId id="2147485716" r:id="rId7"/>
    <p:sldLayoutId id="2147485717" r:id="rId8"/>
    <p:sldLayoutId id="2147485718" r:id="rId9"/>
    <p:sldLayoutId id="2147485719" r:id="rId10"/>
    <p:sldLayoutId id="2147485720" r:id="rId11"/>
    <p:sldLayoutId id="2147485721" r:id="rId12"/>
    <p:sldLayoutId id="2147485722" r:id="rId13"/>
    <p:sldLayoutId id="2147485723" r:id="rId14"/>
    <p:sldLayoutId id="2147485724" r:id="rId15"/>
    <p:sldLayoutId id="2147485725" r:id="rId16"/>
    <p:sldLayoutId id="2147485726" r:id="rId17"/>
    <p:sldLayoutId id="2147485727" r:id="rId18"/>
    <p:sldLayoutId id="2147485728" r:id="rId19"/>
    <p:sldLayoutId id="2147485729" r:id="rId20"/>
    <p:sldLayoutId id="2147485730" r:id="rId21"/>
    <p:sldLayoutId id="2147485731" r:id="rId22"/>
    <p:sldLayoutId id="2147485732" r:id="rId23"/>
    <p:sldLayoutId id="2147485733" r:id="rId24"/>
    <p:sldLayoutId id="2147485734" r:id="rId25"/>
    <p:sldLayoutId id="2147485735" r:id="rId26"/>
    <p:sldLayoutId id="2147485736" r:id="rId2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41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86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32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14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6" y="1825625"/>
            <a:ext cx="1031176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 rot="10800000">
            <a:off x="-4" y="-4"/>
            <a:ext cx="1050135" cy="156755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311010" y="6527386"/>
            <a:ext cx="740367" cy="179271"/>
            <a:chOff x="-504825" y="3757613"/>
            <a:chExt cx="1009650" cy="244475"/>
          </a:xfrm>
          <a:solidFill>
            <a:schemeClr val="bg1">
              <a:lumMod val="85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dirty="0">
                <a:solidFill>
                  <a:srgbClr val="212E35"/>
                </a:solidFill>
              </a:endParaRPr>
            </a:p>
          </p:txBody>
        </p:sp>
      </p:grpSp>
      <p:sp>
        <p:nvSpPr>
          <p:cNvPr id="23" name="Rectangle 22"/>
          <p:cNvSpPr/>
          <p:nvPr userDrawn="1"/>
        </p:nvSpPr>
        <p:spPr>
          <a:xfrm>
            <a:off x="0" y="6498237"/>
            <a:ext cx="231632" cy="824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36576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056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7" r:id="rId1"/>
    <p:sldLayoutId id="2147485808" r:id="rId2"/>
    <p:sldLayoutId id="2147485809" r:id="rId3"/>
    <p:sldLayoutId id="2147485810" r:id="rId4"/>
    <p:sldLayoutId id="2147485811" r:id="rId5"/>
    <p:sldLayoutId id="2147485812" r:id="rId6"/>
    <p:sldLayoutId id="2147485813" r:id="rId7"/>
    <p:sldLayoutId id="2147485814" r:id="rId8"/>
    <p:sldLayoutId id="2147485815" r:id="rId9"/>
    <p:sldLayoutId id="2147485816" r:id="rId10"/>
    <p:sldLayoutId id="2147485817" r:id="rId11"/>
    <p:sldLayoutId id="2147485818" r:id="rId12"/>
    <p:sldLayoutId id="2147485819" r:id="rId13"/>
    <p:sldLayoutId id="2147485820" r:id="rId14"/>
    <p:sldLayoutId id="2147485821" r:id="rId15"/>
    <p:sldLayoutId id="2147485822" r:id="rId16"/>
    <p:sldLayoutId id="2147485823" r:id="rId17"/>
    <p:sldLayoutId id="2147485824" r:id="rId18"/>
    <p:sldLayoutId id="2147485825" r:id="rId19"/>
    <p:sldLayoutId id="2147485826" r:id="rId20"/>
    <p:sldLayoutId id="2147485827" r:id="rId21"/>
    <p:sldLayoutId id="2147485828" r:id="rId22"/>
    <p:sldLayoutId id="2147485829" r:id="rId23"/>
    <p:sldLayoutId id="2147485830" r:id="rId24"/>
    <p:sldLayoutId id="2147485831" r:id="rId25"/>
    <p:sldLayoutId id="2147485832" r:id="rId26"/>
    <p:sldLayoutId id="2147485833" r:id="rId2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41" indent="-171446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Calibri" panose="020F050202020403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86" indent="-171446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Calibri" panose="020F050202020403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32" indent="-171446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71446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0">
          <p15:clr>
            <a:srgbClr val="F26B43"/>
          </p15:clr>
        </p15:guide>
        <p15:guide id="3" pos="7092">
          <p15:clr>
            <a:srgbClr val="F26B43"/>
          </p15:clr>
        </p15:guide>
        <p15:guide id="4" pos="594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146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178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8" r:id="rId1"/>
    <p:sldLayoutId id="2147485849" r:id="rId2"/>
    <p:sldLayoutId id="2147485850" r:id="rId3"/>
    <p:sldLayoutId id="2147485851" r:id="rId4"/>
    <p:sldLayoutId id="2147485852" r:id="rId5"/>
    <p:sldLayoutId id="2147485853" r:id="rId6"/>
    <p:sldLayoutId id="2147485854" r:id="rId7"/>
    <p:sldLayoutId id="2147485855" r:id="rId8"/>
    <p:sldLayoutId id="2147485856" r:id="rId9"/>
    <p:sldLayoutId id="2147485857" r:id="rId10"/>
    <p:sldLayoutId id="2147485858" r:id="rId11"/>
    <p:sldLayoutId id="2147485859" r:id="rId12"/>
    <p:sldLayoutId id="2147485860" r:id="rId13"/>
    <p:sldLayoutId id="2147485861" r:id="rId14"/>
    <p:sldLayoutId id="2147485862" r:id="rId15"/>
    <p:sldLayoutId id="2147485863" r:id="rId16"/>
    <p:sldLayoutId id="2147485864" r:id="rId17"/>
    <p:sldLayoutId id="2147485865" r:id="rId18"/>
    <p:sldLayoutId id="2147485866" r:id="rId19"/>
    <p:sldLayoutId id="2147485867" r:id="rId20"/>
    <p:sldLayoutId id="2147485868" r:id="rId21"/>
    <p:sldLayoutId id="2147485869" r:id="rId22"/>
    <p:sldLayoutId id="2147485870" r:id="rId23"/>
    <p:sldLayoutId id="2147485871" r:id="rId24"/>
    <p:sldLayoutId id="2147485872" r:id="rId25"/>
    <p:sldLayoutId id="2147485873" r:id="rId26"/>
    <p:sldLayoutId id="2147485874" r:id="rId27"/>
    <p:sldLayoutId id="2147485875" r:id="rId28"/>
    <p:sldLayoutId id="2147485876" r:id="rId29"/>
    <p:sldLayoutId id="2147485877" r:id="rId30"/>
    <p:sldLayoutId id="2147485878" r:id="rId31"/>
    <p:sldLayoutId id="2147485879" r:id="rId32"/>
    <p:sldLayoutId id="2147485880" r:id="rId33"/>
    <p:sldLayoutId id="2147485881" r:id="rId34"/>
    <p:sldLayoutId id="2147485882" r:id="rId35"/>
    <p:sldLayoutId id="2147485883" r:id="rId36"/>
    <p:sldLayoutId id="2147485884" r:id="rId37"/>
    <p:sldLayoutId id="2147485885" r:id="rId38"/>
    <p:sldLayoutId id="2147485886" r:id="rId39"/>
    <p:sldLayoutId id="2147485887" r:id="rId40"/>
    <p:sldLayoutId id="2147485888" r:id="rId41"/>
    <p:sldLayoutId id="2147485889" r:id="rId42"/>
    <p:sldLayoutId id="2147485890" r:id="rId43"/>
    <p:sldLayoutId id="2147485891" r:id="rId44"/>
    <p:sldLayoutId id="2147485892" r:id="rId45"/>
    <p:sldLayoutId id="2147485893" r:id="rId46"/>
    <p:sldLayoutId id="2147485894" r:id="rId47"/>
    <p:sldLayoutId id="2147485895" r:id="rId48"/>
    <p:sldLayoutId id="2147485896" r:id="rId49"/>
    <p:sldLayoutId id="2147485897" r:id="rId50"/>
    <p:sldLayoutId id="2147485898" r:id="rId51"/>
    <p:sldLayoutId id="2147485899" r:id="rId52"/>
    <p:sldLayoutId id="2147485900" r:id="rId53"/>
    <p:sldLayoutId id="2147485901" r:id="rId5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094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6786" y="429274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6786" y="1825625"/>
            <a:ext cx="1031176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rot="10800000">
            <a:off x="-4" y="-4"/>
            <a:ext cx="1050135" cy="156755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1311010" y="6527386"/>
            <a:ext cx="740367" cy="179271"/>
            <a:chOff x="-504825" y="3757613"/>
            <a:chExt cx="1009650" cy="244475"/>
          </a:xfrm>
          <a:solidFill>
            <a:schemeClr val="bg1">
              <a:lumMod val="85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212E35"/>
                </a:solidFill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1631" y="6352240"/>
            <a:ext cx="523377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38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  <p:sldLayoutId id="2147484020" r:id="rId20"/>
    <p:sldLayoutId id="2147484021" r:id="rId21"/>
    <p:sldLayoutId id="2147484022" r:id="rId22"/>
    <p:sldLayoutId id="2147484023" r:id="rId23"/>
    <p:sldLayoutId id="2147484024" r:id="rId24"/>
    <p:sldLayoutId id="2147484026" r:id="rId2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41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86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Calibri" panose="020F050202020403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32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71446" algn="l" defTabSz="914377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0">
          <p15:clr>
            <a:srgbClr val="F26B43"/>
          </p15:clr>
        </p15:guide>
        <p15:guide id="3" pos="7092">
          <p15:clr>
            <a:srgbClr val="F26B43"/>
          </p15:clr>
        </p15:guide>
        <p15:guide id="4" pos="595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14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Title Text</a:t>
            </a:r>
            <a:br>
              <a:rPr lang="en-US"/>
            </a:br>
            <a:r>
              <a:rPr lang="en-US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First level 2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20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8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16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3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  <p:sldLayoutId id="2147484069" r:id="rId17"/>
    <p:sldLayoutId id="2147484070" r:id="rId18"/>
    <p:sldLayoutId id="2147484071" r:id="rId19"/>
    <p:sldLayoutId id="2147484072" r:id="rId20"/>
    <p:sldLayoutId id="2147484073" r:id="rId21"/>
    <p:sldLayoutId id="2147484074" r:id="rId22"/>
    <p:sldLayoutId id="2147484075" r:id="rId23"/>
    <p:sldLayoutId id="2147484076" r:id="rId24"/>
    <p:sldLayoutId id="2147484077" r:id="rId25"/>
    <p:sldLayoutId id="2147484078" r:id="rId26"/>
    <p:sldLayoutId id="2147484079" r:id="rId27"/>
    <p:sldLayoutId id="2147484080" r:id="rId28"/>
    <p:sldLayoutId id="2147484081" r:id="rId29"/>
    <p:sldLayoutId id="2147484082" r:id="rId30"/>
    <p:sldLayoutId id="2147484083" r:id="rId31"/>
    <p:sldLayoutId id="2147484084" r:id="rId32"/>
    <p:sldLayoutId id="2147484085" r:id="rId33"/>
    <p:sldLayoutId id="2147484086" r:id="rId34"/>
    <p:sldLayoutId id="2147484087" r:id="rId35"/>
    <p:sldLayoutId id="2147484088" r:id="rId36"/>
    <p:sldLayoutId id="2147484089" r:id="rId37"/>
    <p:sldLayoutId id="2147484090" r:id="rId38"/>
    <p:sldLayoutId id="2147484091" r:id="rId39"/>
    <p:sldLayoutId id="2147484092" r:id="rId40"/>
    <p:sldLayoutId id="2147484093" r:id="rId41"/>
    <p:sldLayoutId id="2147484094" r:id="rId42"/>
    <p:sldLayoutId id="2147484095" r:id="rId43"/>
    <p:sldLayoutId id="2147484096" r:id="rId44"/>
    <p:sldLayoutId id="2147484097" r:id="rId45"/>
    <p:sldLayoutId id="2147484098" r:id="rId46"/>
    <p:sldLayoutId id="2147484099" r:id="rId47"/>
    <p:sldLayoutId id="2147484100" r:id="rId48"/>
    <p:sldLayoutId id="2147484101" r:id="rId49"/>
    <p:sldLayoutId id="2147484102" r:id="rId50"/>
    <p:sldLayoutId id="2147484103" r:id="rId51"/>
    <p:sldLayoutId id="2147484104" r:id="rId52"/>
    <p:sldLayoutId id="2147484105" r:id="rId53"/>
    <p:sldLayoutId id="2147484106" r:id="rId5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orient="horz" pos="540">
          <p15:clr>
            <a:srgbClr val="F26B43"/>
          </p15:clr>
        </p15:guide>
        <p15:guide id="4" orient="horz" pos="96">
          <p15:clr>
            <a:srgbClr val="F26B43"/>
          </p15:clr>
        </p15:guide>
        <p15:guide id="5" orient="horz" pos="4224">
          <p15:clr>
            <a:srgbClr val="F26B43"/>
          </p15:clr>
        </p15:guide>
        <p15:guide id="6" orient="horz" pos="1094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3893">
          <p15:clr>
            <a:srgbClr val="F26B43"/>
          </p15:clr>
        </p15:guide>
        <p15:guide id="9" orient="horz" pos="1389">
          <p15:clr>
            <a:srgbClr val="547EBF"/>
          </p15:clr>
        </p15:guide>
        <p15:guide id="10" orient="horz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pos="594">
          <p15:clr>
            <a:srgbClr val="F26B43"/>
          </p15:clr>
        </p15:guide>
        <p15:guide id="13">
          <p15:clr>
            <a:srgbClr val="F26B43"/>
          </p15:clr>
        </p15:guide>
        <p15:guide id="14" pos="76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66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  <p:sldLayoutId id="2147484198" r:id="rId14"/>
    <p:sldLayoutId id="2147484199" r:id="rId15"/>
    <p:sldLayoutId id="2147484200" r:id="rId16"/>
    <p:sldLayoutId id="2147484201" r:id="rId17"/>
    <p:sldLayoutId id="2147484202" r:id="rId18"/>
    <p:sldLayoutId id="2147484203" r:id="rId19"/>
    <p:sldLayoutId id="2147484204" r:id="rId20"/>
    <p:sldLayoutId id="2147484205" r:id="rId21"/>
    <p:sldLayoutId id="2147484206" r:id="rId22"/>
    <p:sldLayoutId id="2147484207" r:id="rId23"/>
    <p:sldLayoutId id="2147484208" r:id="rId24"/>
    <p:sldLayoutId id="2147484209" r:id="rId25"/>
    <p:sldLayoutId id="2147484210" r:id="rId26"/>
    <p:sldLayoutId id="2147484211" r:id="rId27"/>
    <p:sldLayoutId id="2147484212" r:id="rId28"/>
    <p:sldLayoutId id="2147484213" r:id="rId29"/>
    <p:sldLayoutId id="2147484214" r:id="rId30"/>
    <p:sldLayoutId id="2147484215" r:id="rId31"/>
    <p:sldLayoutId id="2147484216" r:id="rId32"/>
    <p:sldLayoutId id="2147484217" r:id="rId33"/>
    <p:sldLayoutId id="2147484218" r:id="rId34"/>
    <p:sldLayoutId id="2147484219" r:id="rId35"/>
    <p:sldLayoutId id="2147484220" r:id="rId36"/>
    <p:sldLayoutId id="2147484221" r:id="rId37"/>
    <p:sldLayoutId id="2147484222" r:id="rId38"/>
    <p:sldLayoutId id="2147484223" r:id="rId39"/>
    <p:sldLayoutId id="2147484224" r:id="rId40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15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  <p:sldLayoutId id="2147484248" r:id="rId12"/>
    <p:sldLayoutId id="2147484249" r:id="rId13"/>
    <p:sldLayoutId id="2147484250" r:id="rId14"/>
    <p:sldLayoutId id="2147484251" r:id="rId15"/>
    <p:sldLayoutId id="2147484252" r:id="rId16"/>
    <p:sldLayoutId id="2147484253" r:id="rId17"/>
    <p:sldLayoutId id="2147484254" r:id="rId18"/>
    <p:sldLayoutId id="2147484255" r:id="rId19"/>
    <p:sldLayoutId id="2147484256" r:id="rId20"/>
    <p:sldLayoutId id="2147484257" r:id="rId21"/>
    <p:sldLayoutId id="2147484258" r:id="rId22"/>
    <p:sldLayoutId id="2147484259" r:id="rId23"/>
    <p:sldLayoutId id="2147484260" r:id="rId24"/>
    <p:sldLayoutId id="2147484261" r:id="rId25"/>
    <p:sldLayoutId id="2147484262" r:id="rId26"/>
    <p:sldLayoutId id="2147484263" r:id="rId27"/>
    <p:sldLayoutId id="2147484264" r:id="rId28"/>
    <p:sldLayoutId id="2147484265" r:id="rId29"/>
    <p:sldLayoutId id="2147484266" r:id="rId30"/>
    <p:sldLayoutId id="2147484267" r:id="rId31"/>
    <p:sldLayoutId id="2147484268" r:id="rId32"/>
    <p:sldLayoutId id="2147484269" r:id="rId33"/>
    <p:sldLayoutId id="2147484270" r:id="rId34"/>
    <p:sldLayoutId id="2147484271" r:id="rId35"/>
    <p:sldLayoutId id="2147484272" r:id="rId36"/>
    <p:sldLayoutId id="2147484273" r:id="rId37"/>
    <p:sldLayoutId id="2147484274" r:id="rId38"/>
    <p:sldLayoutId id="2147484275" r:id="rId39"/>
    <p:sldLayoutId id="2147484276" r:id="rId40"/>
    <p:sldLayoutId id="2147484277" r:id="rId41"/>
    <p:sldLayoutId id="2147484278" r:id="rId42"/>
    <p:sldLayoutId id="2147484279" r:id="rId43"/>
    <p:sldLayoutId id="2147484280" r:id="rId44"/>
    <p:sldLayoutId id="2147484281" r:id="rId45"/>
    <p:sldLayoutId id="2147484282" r:id="rId46"/>
    <p:sldLayoutId id="2147484283" r:id="rId47"/>
    <p:sldLayoutId id="2147484284" r:id="rId48"/>
    <p:sldLayoutId id="2147484285" r:id="rId49"/>
    <p:sldLayoutId id="2147484286" r:id="rId50"/>
    <p:sldLayoutId id="2147484287" r:id="rId51"/>
    <p:sldLayoutId id="2147484288" r:id="rId5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 Text</a:t>
            </a:r>
            <a:br>
              <a:rPr lang="en-US" dirty="0"/>
            </a:br>
            <a:r>
              <a:rPr lang="en-US" dirty="0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First level 2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20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8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urth level 16 </a:t>
            </a:r>
            <a:r>
              <a:rPr lang="en-US" dirty="0" err="1"/>
              <a:t>pt</a:t>
            </a:r>
            <a:endParaRPr lang="en-US" dirty="0"/>
          </a:p>
          <a:p>
            <a:pPr lvl="4"/>
            <a:r>
              <a:rPr lang="en-US" dirty="0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hangingPunct="0"/>
            <a:fld id="{0FB999A9-77CE-4AD1-9911-24A29F08BC34}" type="slidenum">
              <a:rPr lang="en-US" kern="0" smtClean="0">
                <a:solidFill>
                  <a:srgbClr val="FFFFFF">
                    <a:lumMod val="75000"/>
                  </a:srgbClr>
                </a:solidFill>
                <a:ea typeface="+mj-ea"/>
                <a:cs typeface="+mj-cs"/>
                <a:sym typeface="Calibri"/>
              </a:rPr>
              <a:pPr hangingPunct="0"/>
              <a:t>‹#›</a:t>
            </a:fld>
            <a:endParaRPr lang="en-US" kern="0" dirty="0">
              <a:solidFill>
                <a:srgbClr val="FFFFFF">
                  <a:lumMod val="75000"/>
                </a:srgbClr>
              </a:solidFill>
              <a:ea typeface="+mj-ea"/>
              <a:cs typeface="+mj-cs"/>
              <a:sym typeface="Calibri"/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en-US" sz="2400" kern="0">
                <a:solidFill>
                  <a:srgbClr val="212E35"/>
                </a:solidFill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ea typeface="+mj-ea"/>
              <a:cs typeface="+mj-cs"/>
              <a:sym typeface="Calibri"/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0"/>
            <a:endParaRPr lang="en-GB" kern="0" dirty="0">
              <a:solidFill>
                <a:srgbClr val="000000">
                  <a:tint val="75000"/>
                </a:srgbClr>
              </a:solidFill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527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308" r:id="rId3"/>
    <p:sldLayoutId id="2147484309" r:id="rId4"/>
    <p:sldLayoutId id="2147484310" r:id="rId5"/>
    <p:sldLayoutId id="2147484311" r:id="rId6"/>
    <p:sldLayoutId id="2147484312" r:id="rId7"/>
    <p:sldLayoutId id="2147484313" r:id="rId8"/>
    <p:sldLayoutId id="2147484314" r:id="rId9"/>
    <p:sldLayoutId id="2147484315" r:id="rId10"/>
    <p:sldLayoutId id="2147484316" r:id="rId11"/>
    <p:sldLayoutId id="2147484317" r:id="rId12"/>
    <p:sldLayoutId id="2147484318" r:id="rId13"/>
    <p:sldLayoutId id="2147484319" r:id="rId14"/>
    <p:sldLayoutId id="2147484320" r:id="rId15"/>
    <p:sldLayoutId id="2147484321" r:id="rId16"/>
    <p:sldLayoutId id="2147484322" r:id="rId17"/>
    <p:sldLayoutId id="2147484323" r:id="rId18"/>
    <p:sldLayoutId id="2147484324" r:id="rId19"/>
    <p:sldLayoutId id="2147484325" r:id="rId20"/>
    <p:sldLayoutId id="2147484326" r:id="rId21"/>
    <p:sldLayoutId id="2147484327" r:id="rId22"/>
    <p:sldLayoutId id="2147484328" r:id="rId23"/>
    <p:sldLayoutId id="2147484329" r:id="rId24"/>
    <p:sldLayoutId id="2147484330" r:id="rId25"/>
    <p:sldLayoutId id="2147484331" r:id="rId26"/>
    <p:sldLayoutId id="2147484332" r:id="rId27"/>
    <p:sldLayoutId id="2147484333" r:id="rId28"/>
    <p:sldLayoutId id="2147484334" r:id="rId29"/>
    <p:sldLayoutId id="2147484335" r:id="rId30"/>
    <p:sldLayoutId id="2147484336" r:id="rId31"/>
    <p:sldLayoutId id="2147484337" r:id="rId32"/>
    <p:sldLayoutId id="2147484338" r:id="rId33"/>
    <p:sldLayoutId id="2147484339" r:id="rId34"/>
    <p:sldLayoutId id="2147484340" r:id="rId35"/>
    <p:sldLayoutId id="2147484341" r:id="rId36"/>
    <p:sldLayoutId id="2147484342" r:id="rId37"/>
    <p:sldLayoutId id="2147484343" r:id="rId38"/>
    <p:sldLayoutId id="2147484344" r:id="rId39"/>
    <p:sldLayoutId id="2147484345" r:id="rId40"/>
    <p:sldLayoutId id="2147484346" r:id="rId41"/>
    <p:sldLayoutId id="2147484347" r:id="rId42"/>
    <p:sldLayoutId id="2147484348" r:id="rId43"/>
    <p:sldLayoutId id="2147484349" r:id="rId44"/>
    <p:sldLayoutId id="2147484350" r:id="rId45"/>
    <p:sldLayoutId id="2147484351" r:id="rId46"/>
    <p:sldLayoutId id="2147484352" r:id="rId47"/>
    <p:sldLayoutId id="2147484353" r:id="rId48"/>
    <p:sldLayoutId id="2147484354" r:id="rId49"/>
    <p:sldLayoutId id="2147484355" r:id="rId50"/>
    <p:sldLayoutId id="2147484356" r:id="rId5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pos="595">
          <p15:clr>
            <a:srgbClr val="F26B43"/>
          </p15:clr>
        </p15:guide>
        <p15:guide id="4" orient="horz" pos="540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3893">
          <p15:clr>
            <a:srgbClr val="F26B43"/>
          </p15:clr>
        </p15:guide>
        <p15:guide id="10" orient="horz" pos="1389">
          <p15:clr>
            <a:srgbClr val="547EB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84368"/>
            <a:ext cx="10972800" cy="83625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62509"/>
            <a:ext cx="10972800" cy="47089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" y="6213310"/>
            <a:ext cx="1165920" cy="242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 b="0">
                <a:solidFill>
                  <a:srgbClr val="4C646F"/>
                </a:solidFill>
              </a:defRPr>
            </a:lvl1pPr>
          </a:lstStyle>
          <a:p>
            <a:fld id="{AE3AD13E-0250-4DDE-87F3-DC3D88732FA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60648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10920426" y="6172200"/>
            <a:ext cx="966775" cy="231739"/>
            <a:chOff x="8190319" y="4629150"/>
            <a:chExt cx="725081" cy="173804"/>
          </a:xfrm>
        </p:grpSpPr>
        <p:sp>
          <p:nvSpPr>
            <p:cNvPr id="9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5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6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7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8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19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0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  <p:sp>
          <p:nvSpPr>
            <p:cNvPr id="21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00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7241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  <p:sldLayoutId id="2147484473" r:id="rId6"/>
    <p:sldLayoutId id="2147484474" r:id="rId7"/>
    <p:sldLayoutId id="2147484475" r:id="rId8"/>
    <p:sldLayoutId id="2147484476" r:id="rId9"/>
    <p:sldLayoutId id="2147484477" r:id="rId10"/>
    <p:sldLayoutId id="2147484478" r:id="rId11"/>
    <p:sldLayoutId id="2147484479" r:id="rId12"/>
    <p:sldLayoutId id="2147484480" r:id="rId13"/>
    <p:sldLayoutId id="2147484481" r:id="rId14"/>
    <p:sldLayoutId id="2147484482" r:id="rId15"/>
    <p:sldLayoutId id="2147484483" r:id="rId16"/>
    <p:sldLayoutId id="2147484484" r:id="rId17"/>
    <p:sldLayoutId id="2147484485" r:id="rId18"/>
    <p:sldLayoutId id="2147484486" r:id="rId19"/>
    <p:sldLayoutId id="2147484487" r:id="rId20"/>
    <p:sldLayoutId id="2147484488" r:id="rId21"/>
    <p:sldLayoutId id="2147484489" r:id="rId22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30712" indent="-230712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0000"/>
        <a:buFont typeface="Arial" charset="0"/>
        <a:buChar char="•"/>
        <a:tabLst/>
        <a:defRPr sz="26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09585" indent="-230712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0000"/>
        <a:buFont typeface="Arial" charset="0"/>
        <a:buChar char="•"/>
        <a:tabLst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88459" indent="-230712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0000"/>
        <a:buFont typeface="Arial" charset="0"/>
        <a:buChar char="•"/>
        <a:tabLst/>
        <a:defRPr sz="21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375799" indent="-230712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0000"/>
        <a:buFont typeface="Arial" charset="0"/>
        <a:buChar char="•"/>
        <a:tabLst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754673" indent="-230712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0000"/>
        <a:buFont typeface="Arial" charset="0"/>
        <a:buChar char="•"/>
        <a:tabLst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  <p15:guide id="4" pos="5472">
          <p15:clr>
            <a:srgbClr val="F26B43"/>
          </p15:clr>
        </p15:guide>
        <p15:guide id="5" orient="horz" pos="2890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741">
          <p15:clr>
            <a:srgbClr val="F26B43"/>
          </p15:clr>
        </p15:guide>
        <p15:guide id="8" orient="horz" pos="1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946786" y="429273"/>
            <a:ext cx="10311765" cy="108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Title Text</a:t>
            </a:r>
            <a:br>
              <a:rPr lang="en-US"/>
            </a:br>
            <a:r>
              <a:rPr lang="en-US"/>
              <a:t>with up to two lines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946786" y="1728000"/>
            <a:ext cx="10311765" cy="44521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First level 2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 20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Third level 18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Fourth level 16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Fifth level – avoid as too small</a:t>
            </a:r>
          </a:p>
        </p:txBody>
      </p:sp>
      <p:sp>
        <p:nvSpPr>
          <p:cNvPr id="2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2880" y="6409944"/>
            <a:ext cx="365760" cy="274320"/>
          </a:xfrm>
          <a:prstGeom prst="rect">
            <a:avLst/>
          </a:prstGeom>
        </p:spPr>
        <p:txBody>
          <a:bodyPr wrap="none" anchor="ctr"/>
          <a:lstStyle>
            <a:lvl1pPr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914377"/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grpSp>
        <p:nvGrpSpPr>
          <p:cNvPr id="54" name="Logo"/>
          <p:cNvGrpSpPr>
            <a:grpSpLocks noChangeAspect="1"/>
          </p:cNvGrpSpPr>
          <p:nvPr userDrawn="1"/>
        </p:nvGrpSpPr>
        <p:grpSpPr>
          <a:xfrm>
            <a:off x="11051812" y="6398865"/>
            <a:ext cx="875755" cy="212246"/>
            <a:chOff x="941528" y="4056809"/>
            <a:chExt cx="1454151" cy="352425"/>
          </a:xfrm>
          <a:solidFill>
            <a:schemeClr val="bg1">
              <a:lumMod val="75000"/>
            </a:schemeClr>
          </a:solidFill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009791" y="4056809"/>
              <a:ext cx="282575" cy="282575"/>
            </a:xfrm>
            <a:custGeom>
              <a:avLst/>
              <a:gdLst>
                <a:gd name="T0" fmla="*/ 178 w 178"/>
                <a:gd name="T1" fmla="*/ 0 h 178"/>
                <a:gd name="T2" fmla="*/ 178 w 178"/>
                <a:gd name="T3" fmla="*/ 178 h 178"/>
                <a:gd name="T4" fmla="*/ 135 w 178"/>
                <a:gd name="T5" fmla="*/ 178 h 178"/>
                <a:gd name="T6" fmla="*/ 135 w 178"/>
                <a:gd name="T7" fmla="*/ 43 h 178"/>
                <a:gd name="T8" fmla="*/ 0 w 178"/>
                <a:gd name="T9" fmla="*/ 43 h 178"/>
                <a:gd name="T10" fmla="*/ 0 w 178"/>
                <a:gd name="T11" fmla="*/ 0 h 178"/>
                <a:gd name="T12" fmla="*/ 178 w 178"/>
                <a:gd name="T13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lnTo>
                    <a:pt x="178" y="178"/>
                  </a:lnTo>
                  <a:lnTo>
                    <a:pt x="135" y="178"/>
                  </a:lnTo>
                  <a:lnTo>
                    <a:pt x="135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941528" y="4125071"/>
              <a:ext cx="282575" cy="284163"/>
            </a:xfrm>
            <a:custGeom>
              <a:avLst/>
              <a:gdLst>
                <a:gd name="T0" fmla="*/ 178 w 178"/>
                <a:gd name="T1" fmla="*/ 135 h 179"/>
                <a:gd name="T2" fmla="*/ 178 w 178"/>
                <a:gd name="T3" fmla="*/ 179 h 179"/>
                <a:gd name="T4" fmla="*/ 0 w 178"/>
                <a:gd name="T5" fmla="*/ 179 h 179"/>
                <a:gd name="T6" fmla="*/ 0 w 178"/>
                <a:gd name="T7" fmla="*/ 0 h 179"/>
                <a:gd name="T8" fmla="*/ 43 w 178"/>
                <a:gd name="T9" fmla="*/ 0 h 179"/>
                <a:gd name="T10" fmla="*/ 43 w 178"/>
                <a:gd name="T11" fmla="*/ 135 h 179"/>
                <a:gd name="T12" fmla="*/ 178 w 178"/>
                <a:gd name="T13" fmla="*/ 13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79">
                  <a:moveTo>
                    <a:pt x="178" y="135"/>
                  </a:moveTo>
                  <a:lnTo>
                    <a:pt x="178" y="179"/>
                  </a:lnTo>
                  <a:lnTo>
                    <a:pt x="0" y="17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35"/>
                  </a:lnTo>
                  <a:lnTo>
                    <a:pt x="178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374916" y="4056809"/>
              <a:ext cx="163513" cy="152400"/>
            </a:xfrm>
            <a:custGeom>
              <a:avLst/>
              <a:gdLst>
                <a:gd name="T0" fmla="*/ 103 w 103"/>
                <a:gd name="T1" fmla="*/ 96 h 96"/>
                <a:gd name="T2" fmla="*/ 103 w 103"/>
                <a:gd name="T3" fmla="*/ 0 h 96"/>
                <a:gd name="T4" fmla="*/ 85 w 103"/>
                <a:gd name="T5" fmla="*/ 0 h 96"/>
                <a:gd name="T6" fmla="*/ 52 w 103"/>
                <a:gd name="T7" fmla="*/ 48 h 96"/>
                <a:gd name="T8" fmla="*/ 19 w 103"/>
                <a:gd name="T9" fmla="*/ 0 h 96"/>
                <a:gd name="T10" fmla="*/ 0 w 103"/>
                <a:gd name="T11" fmla="*/ 0 h 96"/>
                <a:gd name="T12" fmla="*/ 0 w 103"/>
                <a:gd name="T13" fmla="*/ 96 h 96"/>
                <a:gd name="T14" fmla="*/ 19 w 103"/>
                <a:gd name="T15" fmla="*/ 96 h 96"/>
                <a:gd name="T16" fmla="*/ 19 w 103"/>
                <a:gd name="T17" fmla="*/ 33 h 96"/>
                <a:gd name="T18" fmla="*/ 46 w 103"/>
                <a:gd name="T19" fmla="*/ 73 h 96"/>
                <a:gd name="T20" fmla="*/ 57 w 103"/>
                <a:gd name="T21" fmla="*/ 73 h 96"/>
                <a:gd name="T22" fmla="*/ 84 w 103"/>
                <a:gd name="T23" fmla="*/ 33 h 96"/>
                <a:gd name="T24" fmla="*/ 84 w 103"/>
                <a:gd name="T25" fmla="*/ 96 h 96"/>
                <a:gd name="T26" fmla="*/ 103 w 103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96">
                  <a:moveTo>
                    <a:pt x="103" y="96"/>
                  </a:moveTo>
                  <a:lnTo>
                    <a:pt x="103" y="0"/>
                  </a:lnTo>
                  <a:lnTo>
                    <a:pt x="85" y="0"/>
                  </a:lnTo>
                  <a:lnTo>
                    <a:pt x="52" y="48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19" y="96"/>
                  </a:lnTo>
                  <a:lnTo>
                    <a:pt x="19" y="33"/>
                  </a:lnTo>
                  <a:lnTo>
                    <a:pt x="46" y="73"/>
                  </a:lnTo>
                  <a:lnTo>
                    <a:pt x="57" y="73"/>
                  </a:lnTo>
                  <a:lnTo>
                    <a:pt x="84" y="33"/>
                  </a:lnTo>
                  <a:lnTo>
                    <a:pt x="84" y="96"/>
                  </a:lnTo>
                  <a:lnTo>
                    <a:pt x="103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1614628" y="4056809"/>
              <a:ext cx="28575" cy="152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20991" y="4056809"/>
              <a:ext cx="147638" cy="152400"/>
            </a:xfrm>
            <a:custGeom>
              <a:avLst/>
              <a:gdLst>
                <a:gd name="T0" fmla="*/ 193 w 193"/>
                <a:gd name="T1" fmla="*/ 178 h 198"/>
                <a:gd name="T2" fmla="*/ 193 w 193"/>
                <a:gd name="T3" fmla="*/ 134 h 198"/>
                <a:gd name="T4" fmla="*/ 154 w 193"/>
                <a:gd name="T5" fmla="*/ 134 h 198"/>
                <a:gd name="T6" fmla="*/ 154 w 193"/>
                <a:gd name="T7" fmla="*/ 160 h 198"/>
                <a:gd name="T8" fmla="*/ 37 w 193"/>
                <a:gd name="T9" fmla="*/ 160 h 198"/>
                <a:gd name="T10" fmla="*/ 37 w 193"/>
                <a:gd name="T11" fmla="*/ 38 h 198"/>
                <a:gd name="T12" fmla="*/ 154 w 193"/>
                <a:gd name="T13" fmla="*/ 38 h 198"/>
                <a:gd name="T14" fmla="*/ 154 w 193"/>
                <a:gd name="T15" fmla="*/ 64 h 198"/>
                <a:gd name="T16" fmla="*/ 193 w 193"/>
                <a:gd name="T17" fmla="*/ 64 h 198"/>
                <a:gd name="T18" fmla="*/ 193 w 193"/>
                <a:gd name="T19" fmla="*/ 20 h 198"/>
                <a:gd name="T20" fmla="*/ 173 w 193"/>
                <a:gd name="T21" fmla="*/ 0 h 198"/>
                <a:gd name="T22" fmla="*/ 18 w 193"/>
                <a:gd name="T23" fmla="*/ 0 h 198"/>
                <a:gd name="T24" fmla="*/ 0 w 193"/>
                <a:gd name="T25" fmla="*/ 20 h 198"/>
                <a:gd name="T26" fmla="*/ 0 w 193"/>
                <a:gd name="T27" fmla="*/ 178 h 198"/>
                <a:gd name="T28" fmla="*/ 18 w 193"/>
                <a:gd name="T29" fmla="*/ 198 h 198"/>
                <a:gd name="T30" fmla="*/ 174 w 193"/>
                <a:gd name="T31" fmla="*/ 198 h 198"/>
                <a:gd name="T32" fmla="*/ 193 w 193"/>
                <a:gd name="T33" fmla="*/ 178 h 198"/>
                <a:gd name="T34" fmla="*/ 193 w 193"/>
                <a:gd name="T35" fmla="*/ 17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98">
                  <a:moveTo>
                    <a:pt x="193" y="178"/>
                  </a:moveTo>
                  <a:lnTo>
                    <a:pt x="193" y="134"/>
                  </a:lnTo>
                  <a:lnTo>
                    <a:pt x="154" y="134"/>
                  </a:lnTo>
                  <a:lnTo>
                    <a:pt x="154" y="160"/>
                  </a:lnTo>
                  <a:lnTo>
                    <a:pt x="37" y="160"/>
                  </a:lnTo>
                  <a:lnTo>
                    <a:pt x="37" y="38"/>
                  </a:lnTo>
                  <a:lnTo>
                    <a:pt x="154" y="38"/>
                  </a:lnTo>
                  <a:lnTo>
                    <a:pt x="154" y="64"/>
                  </a:lnTo>
                  <a:lnTo>
                    <a:pt x="193" y="64"/>
                  </a:ln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78"/>
                  </a:cubicBezTo>
                  <a:lnTo>
                    <a:pt x="193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1944828" y="4056809"/>
              <a:ext cx="149225" cy="152400"/>
            </a:xfrm>
            <a:custGeom>
              <a:avLst/>
              <a:gdLst>
                <a:gd name="T0" fmla="*/ 195 w 195"/>
                <a:gd name="T1" fmla="*/ 200 h 200"/>
                <a:gd name="T2" fmla="*/ 136 w 195"/>
                <a:gd name="T3" fmla="*/ 120 h 200"/>
                <a:gd name="T4" fmla="*/ 175 w 195"/>
                <a:gd name="T5" fmla="*/ 120 h 200"/>
                <a:gd name="T6" fmla="*/ 195 w 195"/>
                <a:gd name="T7" fmla="*/ 100 h 200"/>
                <a:gd name="T8" fmla="*/ 195 w 195"/>
                <a:gd name="T9" fmla="*/ 20 h 200"/>
                <a:gd name="T10" fmla="*/ 175 w 195"/>
                <a:gd name="T11" fmla="*/ 0 h 200"/>
                <a:gd name="T12" fmla="*/ 0 w 195"/>
                <a:gd name="T13" fmla="*/ 0 h 200"/>
                <a:gd name="T14" fmla="*/ 0 w 195"/>
                <a:gd name="T15" fmla="*/ 199 h 200"/>
                <a:gd name="T16" fmla="*/ 39 w 195"/>
                <a:gd name="T17" fmla="*/ 199 h 200"/>
                <a:gd name="T18" fmla="*/ 39 w 195"/>
                <a:gd name="T19" fmla="*/ 119 h 200"/>
                <a:gd name="T20" fmla="*/ 87 w 195"/>
                <a:gd name="T21" fmla="*/ 119 h 200"/>
                <a:gd name="T22" fmla="*/ 145 w 195"/>
                <a:gd name="T23" fmla="*/ 199 h 200"/>
                <a:gd name="T24" fmla="*/ 195 w 195"/>
                <a:gd name="T25" fmla="*/ 199 h 200"/>
                <a:gd name="T26" fmla="*/ 195 w 195"/>
                <a:gd name="T27" fmla="*/ 200 h 200"/>
                <a:gd name="T28" fmla="*/ 39 w 195"/>
                <a:gd name="T29" fmla="*/ 40 h 200"/>
                <a:gd name="T30" fmla="*/ 156 w 195"/>
                <a:gd name="T31" fmla="*/ 40 h 200"/>
                <a:gd name="T32" fmla="*/ 156 w 195"/>
                <a:gd name="T33" fmla="*/ 82 h 200"/>
                <a:gd name="T34" fmla="*/ 39 w 195"/>
                <a:gd name="T35" fmla="*/ 82 h 200"/>
                <a:gd name="T36" fmla="*/ 39 w 195"/>
                <a:gd name="T37" fmla="*/ 40 h 200"/>
                <a:gd name="T38" fmla="*/ 39 w 195"/>
                <a:gd name="T3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5" h="200">
                  <a:moveTo>
                    <a:pt x="195" y="200"/>
                  </a:moveTo>
                  <a:lnTo>
                    <a:pt x="136" y="120"/>
                  </a:lnTo>
                  <a:lnTo>
                    <a:pt x="175" y="120"/>
                  </a:lnTo>
                  <a:cubicBezTo>
                    <a:pt x="185" y="120"/>
                    <a:pt x="195" y="112"/>
                    <a:pt x="195" y="100"/>
                  </a:cubicBezTo>
                  <a:lnTo>
                    <a:pt x="195" y="20"/>
                  </a:lnTo>
                  <a:cubicBezTo>
                    <a:pt x="195" y="8"/>
                    <a:pt x="187" y="0"/>
                    <a:pt x="175" y="0"/>
                  </a:cubicBezTo>
                  <a:lnTo>
                    <a:pt x="0" y="0"/>
                  </a:lnTo>
                  <a:lnTo>
                    <a:pt x="0" y="199"/>
                  </a:lnTo>
                  <a:lnTo>
                    <a:pt x="39" y="199"/>
                  </a:lnTo>
                  <a:lnTo>
                    <a:pt x="39" y="119"/>
                  </a:lnTo>
                  <a:lnTo>
                    <a:pt x="87" y="119"/>
                  </a:lnTo>
                  <a:lnTo>
                    <a:pt x="145" y="199"/>
                  </a:lnTo>
                  <a:lnTo>
                    <a:pt x="195" y="199"/>
                  </a:lnTo>
                  <a:lnTo>
                    <a:pt x="195" y="200"/>
                  </a:lnTo>
                  <a:close/>
                  <a:moveTo>
                    <a:pt x="39" y="40"/>
                  </a:moveTo>
                  <a:lnTo>
                    <a:pt x="156" y="40"/>
                  </a:lnTo>
                  <a:lnTo>
                    <a:pt x="156" y="82"/>
                  </a:lnTo>
                  <a:lnTo>
                    <a:pt x="39" y="82"/>
                  </a:lnTo>
                  <a:lnTo>
                    <a:pt x="39" y="40"/>
                  </a:lnTo>
                  <a:lnTo>
                    <a:pt x="39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2170253" y="4056809"/>
              <a:ext cx="147638" cy="152400"/>
            </a:xfrm>
            <a:custGeom>
              <a:avLst/>
              <a:gdLst>
                <a:gd name="T0" fmla="*/ 194 w 194"/>
                <a:gd name="T1" fmla="*/ 178 h 198"/>
                <a:gd name="T2" fmla="*/ 194 w 194"/>
                <a:gd name="T3" fmla="*/ 20 h 198"/>
                <a:gd name="T4" fmla="*/ 174 w 194"/>
                <a:gd name="T5" fmla="*/ 0 h 198"/>
                <a:gd name="T6" fmla="*/ 18 w 194"/>
                <a:gd name="T7" fmla="*/ 0 h 198"/>
                <a:gd name="T8" fmla="*/ 0 w 194"/>
                <a:gd name="T9" fmla="*/ 20 h 198"/>
                <a:gd name="T10" fmla="*/ 0 w 194"/>
                <a:gd name="T11" fmla="*/ 178 h 198"/>
                <a:gd name="T12" fmla="*/ 18 w 194"/>
                <a:gd name="T13" fmla="*/ 198 h 198"/>
                <a:gd name="T14" fmla="*/ 176 w 194"/>
                <a:gd name="T15" fmla="*/ 198 h 198"/>
                <a:gd name="T16" fmla="*/ 194 w 194"/>
                <a:gd name="T17" fmla="*/ 178 h 198"/>
                <a:gd name="T18" fmla="*/ 194 w 194"/>
                <a:gd name="T19" fmla="*/ 178 h 198"/>
                <a:gd name="T20" fmla="*/ 38 w 194"/>
                <a:gd name="T21" fmla="*/ 38 h 198"/>
                <a:gd name="T22" fmla="*/ 156 w 194"/>
                <a:gd name="T23" fmla="*/ 38 h 198"/>
                <a:gd name="T24" fmla="*/ 156 w 194"/>
                <a:gd name="T25" fmla="*/ 160 h 198"/>
                <a:gd name="T26" fmla="*/ 38 w 194"/>
                <a:gd name="T27" fmla="*/ 160 h 198"/>
                <a:gd name="T28" fmla="*/ 38 w 194"/>
                <a:gd name="T29" fmla="*/ 38 h 198"/>
                <a:gd name="T30" fmla="*/ 38 w 194"/>
                <a:gd name="T31" fmla="*/ 3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198">
                  <a:moveTo>
                    <a:pt x="194" y="178"/>
                  </a:move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6" y="198"/>
                  </a:lnTo>
                  <a:cubicBezTo>
                    <a:pt x="186" y="198"/>
                    <a:pt x="194" y="190"/>
                    <a:pt x="194" y="178"/>
                  </a:cubicBezTo>
                  <a:lnTo>
                    <a:pt x="194" y="178"/>
                  </a:lnTo>
                  <a:close/>
                  <a:moveTo>
                    <a:pt x="38" y="38"/>
                  </a:moveTo>
                  <a:lnTo>
                    <a:pt x="156" y="38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8"/>
                  </a:ln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74916" y="4256834"/>
              <a:ext cx="149225" cy="150813"/>
            </a:xfrm>
            <a:custGeom>
              <a:avLst/>
              <a:gdLst>
                <a:gd name="T0" fmla="*/ 94 w 94"/>
                <a:gd name="T1" fmla="*/ 19 h 95"/>
                <a:gd name="T2" fmla="*/ 94 w 94"/>
                <a:gd name="T3" fmla="*/ 0 h 95"/>
                <a:gd name="T4" fmla="*/ 0 w 94"/>
                <a:gd name="T5" fmla="*/ 0 h 95"/>
                <a:gd name="T6" fmla="*/ 0 w 94"/>
                <a:gd name="T7" fmla="*/ 95 h 95"/>
                <a:gd name="T8" fmla="*/ 19 w 94"/>
                <a:gd name="T9" fmla="*/ 95 h 95"/>
                <a:gd name="T10" fmla="*/ 19 w 94"/>
                <a:gd name="T11" fmla="*/ 57 h 95"/>
                <a:gd name="T12" fmla="*/ 75 w 94"/>
                <a:gd name="T13" fmla="*/ 57 h 95"/>
                <a:gd name="T14" fmla="*/ 75 w 94"/>
                <a:gd name="T15" fmla="*/ 38 h 95"/>
                <a:gd name="T16" fmla="*/ 19 w 94"/>
                <a:gd name="T17" fmla="*/ 38 h 95"/>
                <a:gd name="T18" fmla="*/ 19 w 94"/>
                <a:gd name="T19" fmla="*/ 19 h 95"/>
                <a:gd name="T20" fmla="*/ 94 w 94"/>
                <a:gd name="T21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95">
                  <a:moveTo>
                    <a:pt x="94" y="19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19" y="95"/>
                  </a:lnTo>
                  <a:lnTo>
                    <a:pt x="19" y="57"/>
                  </a:lnTo>
                  <a:lnTo>
                    <a:pt x="75" y="57"/>
                  </a:lnTo>
                  <a:lnTo>
                    <a:pt x="75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94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1565416" y="4256834"/>
              <a:ext cx="147638" cy="150813"/>
            </a:xfrm>
            <a:custGeom>
              <a:avLst/>
              <a:gdLst>
                <a:gd name="T0" fmla="*/ 193 w 193"/>
                <a:gd name="T1" fmla="*/ 180 h 198"/>
                <a:gd name="T2" fmla="*/ 193 w 193"/>
                <a:gd name="T3" fmla="*/ 20 h 198"/>
                <a:gd name="T4" fmla="*/ 173 w 193"/>
                <a:gd name="T5" fmla="*/ 0 h 198"/>
                <a:gd name="T6" fmla="*/ 18 w 193"/>
                <a:gd name="T7" fmla="*/ 0 h 198"/>
                <a:gd name="T8" fmla="*/ 0 w 193"/>
                <a:gd name="T9" fmla="*/ 20 h 198"/>
                <a:gd name="T10" fmla="*/ 0 w 193"/>
                <a:gd name="T11" fmla="*/ 178 h 198"/>
                <a:gd name="T12" fmla="*/ 18 w 193"/>
                <a:gd name="T13" fmla="*/ 198 h 198"/>
                <a:gd name="T14" fmla="*/ 174 w 193"/>
                <a:gd name="T15" fmla="*/ 198 h 198"/>
                <a:gd name="T16" fmla="*/ 193 w 193"/>
                <a:gd name="T17" fmla="*/ 180 h 198"/>
                <a:gd name="T18" fmla="*/ 193 w 193"/>
                <a:gd name="T19" fmla="*/ 180 h 198"/>
                <a:gd name="T20" fmla="*/ 38 w 193"/>
                <a:gd name="T21" fmla="*/ 40 h 198"/>
                <a:gd name="T22" fmla="*/ 154 w 193"/>
                <a:gd name="T23" fmla="*/ 40 h 198"/>
                <a:gd name="T24" fmla="*/ 154 w 193"/>
                <a:gd name="T25" fmla="*/ 161 h 198"/>
                <a:gd name="T26" fmla="*/ 37 w 193"/>
                <a:gd name="T27" fmla="*/ 161 h 198"/>
                <a:gd name="T28" fmla="*/ 37 w 193"/>
                <a:gd name="T29" fmla="*/ 40 h 198"/>
                <a:gd name="T30" fmla="*/ 38 w 193"/>
                <a:gd name="T31" fmla="*/ 4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8">
                  <a:moveTo>
                    <a:pt x="193" y="180"/>
                  </a:moveTo>
                  <a:lnTo>
                    <a:pt x="193" y="20"/>
                  </a:lnTo>
                  <a:cubicBezTo>
                    <a:pt x="193" y="8"/>
                    <a:pt x="185" y="0"/>
                    <a:pt x="173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5" y="198"/>
                    <a:pt x="193" y="190"/>
                    <a:pt x="193" y="180"/>
                  </a:cubicBezTo>
                  <a:lnTo>
                    <a:pt x="193" y="180"/>
                  </a:lnTo>
                  <a:close/>
                  <a:moveTo>
                    <a:pt x="38" y="40"/>
                  </a:moveTo>
                  <a:lnTo>
                    <a:pt x="154" y="40"/>
                  </a:lnTo>
                  <a:lnTo>
                    <a:pt x="154" y="161"/>
                  </a:lnTo>
                  <a:lnTo>
                    <a:pt x="37" y="161"/>
                  </a:lnTo>
                  <a:lnTo>
                    <a:pt x="37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767028" y="4256834"/>
              <a:ext cx="147638" cy="152400"/>
            </a:xfrm>
            <a:custGeom>
              <a:avLst/>
              <a:gdLst>
                <a:gd name="T0" fmla="*/ 194 w 194"/>
                <a:gd name="T1" fmla="*/ 179 h 199"/>
                <a:gd name="T2" fmla="*/ 194 w 194"/>
                <a:gd name="T3" fmla="*/ 135 h 199"/>
                <a:gd name="T4" fmla="*/ 156 w 194"/>
                <a:gd name="T5" fmla="*/ 135 h 199"/>
                <a:gd name="T6" fmla="*/ 156 w 194"/>
                <a:gd name="T7" fmla="*/ 160 h 199"/>
                <a:gd name="T8" fmla="*/ 38 w 194"/>
                <a:gd name="T9" fmla="*/ 160 h 199"/>
                <a:gd name="T10" fmla="*/ 38 w 194"/>
                <a:gd name="T11" fmla="*/ 39 h 199"/>
                <a:gd name="T12" fmla="*/ 156 w 194"/>
                <a:gd name="T13" fmla="*/ 39 h 199"/>
                <a:gd name="T14" fmla="*/ 156 w 194"/>
                <a:gd name="T15" fmla="*/ 64 h 199"/>
                <a:gd name="T16" fmla="*/ 194 w 194"/>
                <a:gd name="T17" fmla="*/ 64 h 199"/>
                <a:gd name="T18" fmla="*/ 194 w 194"/>
                <a:gd name="T19" fmla="*/ 20 h 199"/>
                <a:gd name="T20" fmla="*/ 174 w 194"/>
                <a:gd name="T21" fmla="*/ 0 h 199"/>
                <a:gd name="T22" fmla="*/ 18 w 194"/>
                <a:gd name="T23" fmla="*/ 0 h 199"/>
                <a:gd name="T24" fmla="*/ 0 w 194"/>
                <a:gd name="T25" fmla="*/ 20 h 199"/>
                <a:gd name="T26" fmla="*/ 0 w 194"/>
                <a:gd name="T27" fmla="*/ 179 h 199"/>
                <a:gd name="T28" fmla="*/ 18 w 194"/>
                <a:gd name="T29" fmla="*/ 199 h 199"/>
                <a:gd name="T30" fmla="*/ 174 w 194"/>
                <a:gd name="T31" fmla="*/ 199 h 199"/>
                <a:gd name="T32" fmla="*/ 194 w 194"/>
                <a:gd name="T33" fmla="*/ 179 h 199"/>
                <a:gd name="T34" fmla="*/ 194 w 194"/>
                <a:gd name="T35" fmla="*/ 17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194" y="179"/>
                  </a:moveTo>
                  <a:lnTo>
                    <a:pt x="194" y="135"/>
                  </a:lnTo>
                  <a:lnTo>
                    <a:pt x="156" y="135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39"/>
                  </a:lnTo>
                  <a:lnTo>
                    <a:pt x="156" y="39"/>
                  </a:lnTo>
                  <a:lnTo>
                    <a:pt x="156" y="64"/>
                  </a:lnTo>
                  <a:lnTo>
                    <a:pt x="194" y="64"/>
                  </a:lnTo>
                  <a:lnTo>
                    <a:pt x="194" y="20"/>
                  </a:lnTo>
                  <a:cubicBezTo>
                    <a:pt x="194" y="8"/>
                    <a:pt x="186" y="0"/>
                    <a:pt x="174" y="0"/>
                  </a:cubicBezTo>
                  <a:lnTo>
                    <a:pt x="18" y="0"/>
                  </a:lnTo>
                  <a:cubicBezTo>
                    <a:pt x="8" y="0"/>
                    <a:pt x="0" y="8"/>
                    <a:pt x="0" y="20"/>
                  </a:cubicBezTo>
                  <a:lnTo>
                    <a:pt x="0" y="179"/>
                  </a:lnTo>
                  <a:cubicBezTo>
                    <a:pt x="0" y="189"/>
                    <a:pt x="8" y="199"/>
                    <a:pt x="18" y="199"/>
                  </a:cubicBezTo>
                  <a:lnTo>
                    <a:pt x="174" y="199"/>
                  </a:lnTo>
                  <a:cubicBezTo>
                    <a:pt x="185" y="197"/>
                    <a:pt x="194" y="189"/>
                    <a:pt x="194" y="179"/>
                  </a:cubicBezTo>
                  <a:lnTo>
                    <a:pt x="194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968641" y="4256834"/>
              <a:ext cx="147638" cy="150813"/>
            </a:xfrm>
            <a:custGeom>
              <a:avLst/>
              <a:gdLst>
                <a:gd name="T0" fmla="*/ 194 w 194"/>
                <a:gd name="T1" fmla="*/ 180 h 198"/>
                <a:gd name="T2" fmla="*/ 194 w 194"/>
                <a:gd name="T3" fmla="*/ 0 h 198"/>
                <a:gd name="T4" fmla="*/ 156 w 194"/>
                <a:gd name="T5" fmla="*/ 0 h 198"/>
                <a:gd name="T6" fmla="*/ 156 w 194"/>
                <a:gd name="T7" fmla="*/ 160 h 198"/>
                <a:gd name="T8" fmla="*/ 38 w 194"/>
                <a:gd name="T9" fmla="*/ 160 h 198"/>
                <a:gd name="T10" fmla="*/ 38 w 194"/>
                <a:gd name="T11" fmla="*/ 0 h 198"/>
                <a:gd name="T12" fmla="*/ 0 w 194"/>
                <a:gd name="T13" fmla="*/ 0 h 198"/>
                <a:gd name="T14" fmla="*/ 0 w 194"/>
                <a:gd name="T15" fmla="*/ 178 h 198"/>
                <a:gd name="T16" fmla="*/ 18 w 194"/>
                <a:gd name="T17" fmla="*/ 198 h 198"/>
                <a:gd name="T18" fmla="*/ 174 w 194"/>
                <a:gd name="T19" fmla="*/ 198 h 198"/>
                <a:gd name="T20" fmla="*/ 194 w 194"/>
                <a:gd name="T21" fmla="*/ 180 h 198"/>
                <a:gd name="T22" fmla="*/ 194 w 194"/>
                <a:gd name="T23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4" h="198">
                  <a:moveTo>
                    <a:pt x="194" y="180"/>
                  </a:moveTo>
                  <a:lnTo>
                    <a:pt x="194" y="0"/>
                  </a:lnTo>
                  <a:lnTo>
                    <a:pt x="156" y="0"/>
                  </a:lnTo>
                  <a:lnTo>
                    <a:pt x="156" y="160"/>
                  </a:lnTo>
                  <a:lnTo>
                    <a:pt x="38" y="160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78"/>
                  </a:lnTo>
                  <a:cubicBezTo>
                    <a:pt x="0" y="189"/>
                    <a:pt x="8" y="198"/>
                    <a:pt x="18" y="198"/>
                  </a:cubicBezTo>
                  <a:lnTo>
                    <a:pt x="174" y="198"/>
                  </a:lnTo>
                  <a:cubicBezTo>
                    <a:pt x="186" y="198"/>
                    <a:pt x="194" y="190"/>
                    <a:pt x="194" y="180"/>
                  </a:cubicBezTo>
                  <a:lnTo>
                    <a:pt x="19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168666" y="4256834"/>
              <a:ext cx="149225" cy="152400"/>
            </a:xfrm>
            <a:custGeom>
              <a:avLst/>
              <a:gdLst>
                <a:gd name="T0" fmla="*/ 196 w 196"/>
                <a:gd name="T1" fmla="*/ 179 h 200"/>
                <a:gd name="T2" fmla="*/ 196 w 196"/>
                <a:gd name="T3" fmla="*/ 100 h 200"/>
                <a:gd name="T4" fmla="*/ 176 w 196"/>
                <a:gd name="T5" fmla="*/ 80 h 200"/>
                <a:gd name="T6" fmla="*/ 40 w 196"/>
                <a:gd name="T7" fmla="*/ 80 h 200"/>
                <a:gd name="T8" fmla="*/ 40 w 196"/>
                <a:gd name="T9" fmla="*/ 39 h 200"/>
                <a:gd name="T10" fmla="*/ 158 w 196"/>
                <a:gd name="T11" fmla="*/ 39 h 200"/>
                <a:gd name="T12" fmla="*/ 158 w 196"/>
                <a:gd name="T13" fmla="*/ 60 h 200"/>
                <a:gd name="T14" fmla="*/ 196 w 196"/>
                <a:gd name="T15" fmla="*/ 60 h 200"/>
                <a:gd name="T16" fmla="*/ 196 w 196"/>
                <a:gd name="T17" fmla="*/ 20 h 200"/>
                <a:gd name="T18" fmla="*/ 176 w 196"/>
                <a:gd name="T19" fmla="*/ 0 h 200"/>
                <a:gd name="T20" fmla="*/ 20 w 196"/>
                <a:gd name="T21" fmla="*/ 0 h 200"/>
                <a:gd name="T22" fmla="*/ 2 w 196"/>
                <a:gd name="T23" fmla="*/ 20 h 200"/>
                <a:gd name="T24" fmla="*/ 2 w 196"/>
                <a:gd name="T25" fmla="*/ 99 h 200"/>
                <a:gd name="T26" fmla="*/ 20 w 196"/>
                <a:gd name="T27" fmla="*/ 119 h 200"/>
                <a:gd name="T28" fmla="*/ 156 w 196"/>
                <a:gd name="T29" fmla="*/ 119 h 200"/>
                <a:gd name="T30" fmla="*/ 156 w 196"/>
                <a:gd name="T31" fmla="*/ 160 h 200"/>
                <a:gd name="T32" fmla="*/ 39 w 196"/>
                <a:gd name="T33" fmla="*/ 160 h 200"/>
                <a:gd name="T34" fmla="*/ 39 w 196"/>
                <a:gd name="T35" fmla="*/ 140 h 200"/>
                <a:gd name="T36" fmla="*/ 0 w 196"/>
                <a:gd name="T37" fmla="*/ 140 h 200"/>
                <a:gd name="T38" fmla="*/ 0 w 196"/>
                <a:gd name="T39" fmla="*/ 180 h 200"/>
                <a:gd name="T40" fmla="*/ 19 w 196"/>
                <a:gd name="T41" fmla="*/ 200 h 200"/>
                <a:gd name="T42" fmla="*/ 175 w 196"/>
                <a:gd name="T43" fmla="*/ 200 h 200"/>
                <a:gd name="T44" fmla="*/ 196 w 196"/>
                <a:gd name="T45" fmla="*/ 179 h 200"/>
                <a:gd name="T46" fmla="*/ 196 w 196"/>
                <a:gd name="T47" fmla="*/ 17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200">
                  <a:moveTo>
                    <a:pt x="196" y="179"/>
                  </a:moveTo>
                  <a:lnTo>
                    <a:pt x="196" y="100"/>
                  </a:lnTo>
                  <a:cubicBezTo>
                    <a:pt x="196" y="89"/>
                    <a:pt x="188" y="80"/>
                    <a:pt x="176" y="80"/>
                  </a:cubicBezTo>
                  <a:lnTo>
                    <a:pt x="40" y="80"/>
                  </a:lnTo>
                  <a:lnTo>
                    <a:pt x="40" y="39"/>
                  </a:lnTo>
                  <a:lnTo>
                    <a:pt x="158" y="39"/>
                  </a:lnTo>
                  <a:lnTo>
                    <a:pt x="158" y="60"/>
                  </a:lnTo>
                  <a:lnTo>
                    <a:pt x="196" y="60"/>
                  </a:lnTo>
                  <a:lnTo>
                    <a:pt x="196" y="20"/>
                  </a:lnTo>
                  <a:cubicBezTo>
                    <a:pt x="196" y="8"/>
                    <a:pt x="188" y="0"/>
                    <a:pt x="176" y="0"/>
                  </a:cubicBezTo>
                  <a:lnTo>
                    <a:pt x="20" y="0"/>
                  </a:lnTo>
                  <a:cubicBezTo>
                    <a:pt x="10" y="0"/>
                    <a:pt x="2" y="8"/>
                    <a:pt x="2" y="20"/>
                  </a:cubicBezTo>
                  <a:lnTo>
                    <a:pt x="2" y="99"/>
                  </a:lnTo>
                  <a:cubicBezTo>
                    <a:pt x="2" y="109"/>
                    <a:pt x="10" y="119"/>
                    <a:pt x="20" y="119"/>
                  </a:cubicBezTo>
                  <a:lnTo>
                    <a:pt x="156" y="119"/>
                  </a:lnTo>
                  <a:lnTo>
                    <a:pt x="156" y="160"/>
                  </a:lnTo>
                  <a:lnTo>
                    <a:pt x="39" y="160"/>
                  </a:lnTo>
                  <a:lnTo>
                    <a:pt x="39" y="140"/>
                  </a:lnTo>
                  <a:lnTo>
                    <a:pt x="0" y="140"/>
                  </a:lnTo>
                  <a:lnTo>
                    <a:pt x="0" y="180"/>
                  </a:lnTo>
                  <a:cubicBezTo>
                    <a:pt x="0" y="191"/>
                    <a:pt x="8" y="200"/>
                    <a:pt x="19" y="200"/>
                  </a:cubicBezTo>
                  <a:lnTo>
                    <a:pt x="175" y="200"/>
                  </a:lnTo>
                  <a:cubicBezTo>
                    <a:pt x="188" y="197"/>
                    <a:pt x="196" y="189"/>
                    <a:pt x="196" y="179"/>
                  </a:cubicBezTo>
                  <a:lnTo>
                    <a:pt x="196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340116" y="4058396"/>
              <a:ext cx="55563" cy="5556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3 h 72"/>
                <a:gd name="T12" fmla="*/ 2 w 72"/>
                <a:gd name="T13" fmla="*/ 36 h 72"/>
                <a:gd name="T14" fmla="*/ 36 w 72"/>
                <a:gd name="T15" fmla="*/ 68 h 72"/>
                <a:gd name="T16" fmla="*/ 68 w 72"/>
                <a:gd name="T17" fmla="*/ 36 h 72"/>
                <a:gd name="T18" fmla="*/ 36 w 72"/>
                <a:gd name="T19" fmla="*/ 3 h 72"/>
                <a:gd name="T20" fmla="*/ 45 w 72"/>
                <a:gd name="T21" fmla="*/ 59 h 72"/>
                <a:gd name="T22" fmla="*/ 36 w 72"/>
                <a:gd name="T23" fmla="*/ 39 h 72"/>
                <a:gd name="T24" fmla="*/ 28 w 72"/>
                <a:gd name="T25" fmla="*/ 39 h 72"/>
                <a:gd name="T26" fmla="*/ 28 w 72"/>
                <a:gd name="T27" fmla="*/ 59 h 72"/>
                <a:gd name="T28" fmla="*/ 22 w 72"/>
                <a:gd name="T29" fmla="*/ 59 h 72"/>
                <a:gd name="T30" fmla="*/ 22 w 72"/>
                <a:gd name="T31" fmla="*/ 14 h 72"/>
                <a:gd name="T32" fmla="*/ 36 w 72"/>
                <a:gd name="T33" fmla="*/ 14 h 72"/>
                <a:gd name="T34" fmla="*/ 50 w 72"/>
                <a:gd name="T35" fmla="*/ 27 h 72"/>
                <a:gd name="T36" fmla="*/ 41 w 72"/>
                <a:gd name="T37" fmla="*/ 39 h 72"/>
                <a:gd name="T38" fmla="*/ 50 w 72"/>
                <a:gd name="T39" fmla="*/ 59 h 72"/>
                <a:gd name="T40" fmla="*/ 45 w 72"/>
                <a:gd name="T41" fmla="*/ 59 h 72"/>
                <a:gd name="T42" fmla="*/ 28 w 72"/>
                <a:gd name="T43" fmla="*/ 34 h 72"/>
                <a:gd name="T44" fmla="*/ 36 w 72"/>
                <a:gd name="T45" fmla="*/ 34 h 72"/>
                <a:gd name="T46" fmla="*/ 45 w 72"/>
                <a:gd name="T47" fmla="*/ 26 h 72"/>
                <a:gd name="T48" fmla="*/ 36 w 72"/>
                <a:gd name="T49" fmla="*/ 18 h 72"/>
                <a:gd name="T50" fmla="*/ 29 w 72"/>
                <a:gd name="T51" fmla="*/ 18 h 72"/>
                <a:gd name="T52" fmla="*/ 29 w 72"/>
                <a:gd name="T53" fmla="*/ 34 h 72"/>
                <a:gd name="T54" fmla="*/ 28 w 72"/>
                <a:gd name="T5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3"/>
                  </a:moveTo>
                  <a:cubicBezTo>
                    <a:pt x="17" y="3"/>
                    <a:pt x="2" y="18"/>
                    <a:pt x="2" y="36"/>
                  </a:cubicBezTo>
                  <a:cubicBezTo>
                    <a:pt x="2" y="55"/>
                    <a:pt x="17" y="68"/>
                    <a:pt x="36" y="68"/>
                  </a:cubicBezTo>
                  <a:cubicBezTo>
                    <a:pt x="54" y="68"/>
                    <a:pt x="68" y="54"/>
                    <a:pt x="68" y="36"/>
                  </a:cubicBezTo>
                  <a:cubicBezTo>
                    <a:pt x="68" y="18"/>
                    <a:pt x="54" y="3"/>
                    <a:pt x="36" y="3"/>
                  </a:cubicBezTo>
                  <a:close/>
                  <a:moveTo>
                    <a:pt x="45" y="59"/>
                  </a:moveTo>
                  <a:lnTo>
                    <a:pt x="36" y="39"/>
                  </a:lnTo>
                  <a:lnTo>
                    <a:pt x="28" y="39"/>
                  </a:lnTo>
                  <a:lnTo>
                    <a:pt x="28" y="59"/>
                  </a:lnTo>
                  <a:lnTo>
                    <a:pt x="22" y="59"/>
                  </a:lnTo>
                  <a:lnTo>
                    <a:pt x="22" y="14"/>
                  </a:lnTo>
                  <a:lnTo>
                    <a:pt x="36" y="14"/>
                  </a:lnTo>
                  <a:cubicBezTo>
                    <a:pt x="46" y="14"/>
                    <a:pt x="50" y="18"/>
                    <a:pt x="50" y="27"/>
                  </a:cubicBezTo>
                  <a:cubicBezTo>
                    <a:pt x="50" y="34"/>
                    <a:pt x="48" y="38"/>
                    <a:pt x="41" y="39"/>
                  </a:cubicBezTo>
                  <a:lnTo>
                    <a:pt x="50" y="59"/>
                  </a:lnTo>
                  <a:lnTo>
                    <a:pt x="45" y="59"/>
                  </a:lnTo>
                  <a:close/>
                  <a:moveTo>
                    <a:pt x="28" y="34"/>
                  </a:moveTo>
                  <a:lnTo>
                    <a:pt x="36" y="34"/>
                  </a:lnTo>
                  <a:cubicBezTo>
                    <a:pt x="42" y="34"/>
                    <a:pt x="45" y="31"/>
                    <a:pt x="45" y="26"/>
                  </a:cubicBezTo>
                  <a:cubicBezTo>
                    <a:pt x="45" y="20"/>
                    <a:pt x="42" y="18"/>
                    <a:pt x="36" y="18"/>
                  </a:cubicBezTo>
                  <a:lnTo>
                    <a:pt x="29" y="18"/>
                  </a:lnTo>
                  <a:lnTo>
                    <a:pt x="29" y="34"/>
                  </a:lnTo>
                  <a:lnTo>
                    <a:pt x="28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Blue bar"/>
          <p:cNvSpPr/>
          <p:nvPr userDrawn="1"/>
        </p:nvSpPr>
        <p:spPr>
          <a:xfrm>
            <a:off x="944563" y="0"/>
            <a:ext cx="1799696" cy="151844"/>
          </a:xfrm>
          <a:prstGeom prst="rect">
            <a:avLst/>
          </a:prstGeom>
          <a:solidFill>
            <a:srgbClr val="0079E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</a:defRPr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417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  <p:sldLayoutId id="2147484565" r:id="rId17"/>
    <p:sldLayoutId id="2147484566" r:id="rId18"/>
    <p:sldLayoutId id="2147484567" r:id="rId19"/>
    <p:sldLayoutId id="2147484568" r:id="rId20"/>
    <p:sldLayoutId id="2147484569" r:id="rId21"/>
    <p:sldLayoutId id="2147484570" r:id="rId22"/>
    <p:sldLayoutId id="2147484571" r:id="rId23"/>
    <p:sldLayoutId id="2147484572" r:id="rId24"/>
    <p:sldLayoutId id="2147484573" r:id="rId25"/>
    <p:sldLayoutId id="2147484574" r:id="rId26"/>
    <p:sldLayoutId id="2147484575" r:id="rId27"/>
    <p:sldLayoutId id="2147484576" r:id="rId28"/>
    <p:sldLayoutId id="2147484577" r:id="rId29"/>
    <p:sldLayoutId id="2147484578" r:id="rId30"/>
    <p:sldLayoutId id="2147484579" r:id="rId31"/>
    <p:sldLayoutId id="2147484580" r:id="rId32"/>
    <p:sldLayoutId id="2147484581" r:id="rId33"/>
    <p:sldLayoutId id="2147484582" r:id="rId34"/>
    <p:sldLayoutId id="2147484583" r:id="rId35"/>
    <p:sldLayoutId id="2147484584" r:id="rId36"/>
    <p:sldLayoutId id="2147484585" r:id="rId37"/>
    <p:sldLayoutId id="2147484586" r:id="rId38"/>
    <p:sldLayoutId id="2147484587" r:id="rId39"/>
    <p:sldLayoutId id="2147484588" r:id="rId40"/>
    <p:sldLayoutId id="2147484589" r:id="rId41"/>
    <p:sldLayoutId id="2147484590" r:id="rId42"/>
    <p:sldLayoutId id="2147484591" r:id="rId43"/>
    <p:sldLayoutId id="2147484592" r:id="rId44"/>
    <p:sldLayoutId id="2147484593" r:id="rId45"/>
    <p:sldLayoutId id="2147484594" r:id="rId46"/>
    <p:sldLayoutId id="2147484595" r:id="rId47"/>
    <p:sldLayoutId id="2147484596" r:id="rId48"/>
    <p:sldLayoutId id="2147484597" r:id="rId49"/>
    <p:sldLayoutId id="2147484598" r:id="rId50"/>
    <p:sldLayoutId id="2147484599" r:id="rId51"/>
    <p:sldLayoutId id="2147484600" r:id="rId5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22338" indent="-17780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5875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Tx/>
        <a:buSzPct val="80000"/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092">
          <p15:clr>
            <a:srgbClr val="F26B43"/>
          </p15:clr>
        </p15:guide>
        <p15:guide id="3" orient="horz" pos="540">
          <p15:clr>
            <a:srgbClr val="F26B43"/>
          </p15:clr>
        </p15:guide>
        <p15:guide id="4" orient="horz" pos="96">
          <p15:clr>
            <a:srgbClr val="F26B43"/>
          </p15:clr>
        </p15:guide>
        <p15:guide id="5" orient="horz" pos="4224">
          <p15:clr>
            <a:srgbClr val="F26B43"/>
          </p15:clr>
        </p15:guide>
        <p15:guide id="6" orient="horz" pos="1094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3893">
          <p15:clr>
            <a:srgbClr val="F26B43"/>
          </p15:clr>
        </p15:guide>
        <p15:guide id="9" orient="horz" pos="1389">
          <p15:clr>
            <a:srgbClr val="547EBF"/>
          </p15:clr>
        </p15:guide>
        <p15:guide id="10" orient="horz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pos="594">
          <p15:clr>
            <a:srgbClr val="F26B43"/>
          </p15:clr>
        </p15:guide>
        <p15:guide id="13">
          <p15:clr>
            <a:srgbClr val="F26B43"/>
          </p15:clr>
        </p15:guide>
        <p15:guide id="14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73.xml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73.xml"/><Relationship Id="rId6" Type="http://schemas.openxmlformats.org/officeDocument/2006/relationships/comments" Target="../comments/comment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11.xml"/><Relationship Id="rId6" Type="http://schemas.openxmlformats.org/officeDocument/2006/relationships/image" Target="../media/image46.png"/><Relationship Id="rId5" Type="http://schemas.openxmlformats.org/officeDocument/2006/relationships/image" Target="../media/image35.png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1.xm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26.xml"/><Relationship Id="rId5" Type="http://schemas.openxmlformats.org/officeDocument/2006/relationships/image" Target="../media/image35.pn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2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26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73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png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gif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1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11.xml"/><Relationship Id="rId5" Type="http://schemas.openxmlformats.org/officeDocument/2006/relationships/image" Target="../media/image35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1424" y="2279904"/>
            <a:ext cx="9045376" cy="1758696"/>
          </a:xfrm>
        </p:spPr>
        <p:txBody>
          <a:bodyPr>
            <a:normAutofit fontScale="90000"/>
          </a:bodyPr>
          <a:lstStyle/>
          <a:p>
            <a:r>
              <a:rPr lang="en-US" sz="5333" dirty="0">
                <a:latin typeface="Calibri" panose="020F0502020204030204" pitchFamily="34" charset="0"/>
                <a:cs typeface="Calibri" panose="020F0502020204030204" pitchFamily="34" charset="0"/>
              </a:rPr>
              <a:t>Welcome to ALM/Quality Center Web Runner</a:t>
            </a:r>
            <a:br>
              <a:rPr lang="en-US" sz="5333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5333" dirty="0">
                <a:latin typeface="Calibri" panose="020F0502020204030204" pitchFamily="34" charset="0"/>
                <a:cs typeface="Calibri" panose="020F0502020204030204" pitchFamily="34" charset="0"/>
              </a:rPr>
              <a:t>We will start shortly… </a:t>
            </a:r>
          </a:p>
        </p:txBody>
      </p:sp>
    </p:spTree>
    <p:extLst>
      <p:ext uri="{BB962C8B-B14F-4D97-AF65-F5344CB8AC3E}">
        <p14:creationId xmlns:p14="http://schemas.microsoft.com/office/powerpoint/2010/main" val="2177145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Test Lab Module  – Automation Agent Setup</a:t>
            </a: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31632" y="6352240"/>
            <a:ext cx="479568" cy="327960"/>
          </a:xfrm>
        </p:spPr>
        <p:txBody>
          <a:bodyPr/>
          <a:lstStyle/>
          <a:p>
            <a:pPr defTabSz="1219170">
              <a:defRPr/>
            </a:pPr>
            <a:fld id="{0FB999A9-77CE-4AD1-9911-24A29F08BC34}" type="slidenum">
              <a:rPr lang="en-US">
                <a:solidFill>
                  <a:prstClr val="white">
                    <a:lumMod val="75000"/>
                  </a:prstClr>
                </a:solidFill>
              </a:rPr>
              <a:pPr defTabSz="1219170">
                <a:defRPr/>
              </a:pPr>
              <a:t>10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4" name="AutoShape 2" descr="https://us-api.asm.skype.com/v1/objects/0-eus-d9-59671920ddc1df8b5576b60abfe6bbcd/views/imgpsh_mobile_save"/>
          <p:cNvSpPr>
            <a:spLocks noChangeAspect="1" noChangeArrowheads="1"/>
          </p:cNvSpPr>
          <p:nvPr/>
        </p:nvSpPr>
        <p:spPr bwMode="auto">
          <a:xfrm>
            <a:off x="-2889905" y="-5904441"/>
            <a:ext cx="24384000" cy="1149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2400" dirty="0">
              <a:solidFill>
                <a:srgbClr val="212E35"/>
              </a:solidFill>
            </a:endParaRPr>
          </a:p>
        </p:txBody>
      </p:sp>
      <p:sp>
        <p:nvSpPr>
          <p:cNvPr id="6" name="AutoShape 6" descr="https://us-api.asm.skype.com/v1/objects/0-eus-d9-59671920ddc1df8b5576b60abfe6bbcd/views/imgo"/>
          <p:cNvSpPr>
            <a:spLocks noChangeAspect="1" noChangeArrowheads="1"/>
          </p:cNvSpPr>
          <p:nvPr/>
        </p:nvSpPr>
        <p:spPr bwMode="auto">
          <a:xfrm>
            <a:off x="207433" y="-2296584"/>
            <a:ext cx="10160000" cy="4787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US" sz="2400" dirty="0">
              <a:solidFill>
                <a:srgbClr val="212E35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DBF10E5-2498-4C90-BAA4-CD66A9C04669}"/>
              </a:ext>
            </a:extLst>
          </p:cNvPr>
          <p:cNvSpPr txBox="1">
            <a:spLocks/>
          </p:cNvSpPr>
          <p:nvPr/>
        </p:nvSpPr>
        <p:spPr>
          <a:xfrm>
            <a:off x="8635254" y="1509273"/>
            <a:ext cx="3556746" cy="3900815"/>
          </a:xfrm>
          <a:prstGeom prst="rect">
            <a:avLst/>
          </a:prstGeom>
        </p:spPr>
        <p:txBody>
          <a:bodyPr vert="horz" lIns="0" tIns="45720" rIns="91440" bIns="45720" rtlCol="0">
            <a:normAutofit fontScale="92500" lnSpcReduction="20000"/>
          </a:bodyPr>
          <a:lstStyle>
            <a:lvl1pPr marL="287338" indent="-287338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86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338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587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000000"/>
                </a:solidFill>
              </a:rPr>
              <a:t>Download the ALM Tests Execution Agent</a:t>
            </a:r>
          </a:p>
          <a:p>
            <a:r>
              <a:rPr lang="en-US" b="1" dirty="0">
                <a:solidFill>
                  <a:srgbClr val="000000"/>
                </a:solidFill>
              </a:rPr>
              <a:t>Client Registration</a:t>
            </a:r>
          </a:p>
          <a:p>
            <a:r>
              <a:rPr lang="en-US" b="1" dirty="0">
                <a:solidFill>
                  <a:srgbClr val="000000"/>
                </a:solidFill>
              </a:rPr>
              <a:t>Start the agent</a:t>
            </a:r>
          </a:p>
          <a:p>
            <a:r>
              <a:rPr lang="en-US" b="1" dirty="0">
                <a:solidFill>
                  <a:srgbClr val="000000"/>
                </a:solidFill>
              </a:rPr>
              <a:t>Provide connection information</a:t>
            </a:r>
          </a:p>
          <a:p>
            <a:pPr>
              <a:buFontTx/>
              <a:buChar char="-"/>
            </a:pPr>
            <a:r>
              <a:rPr lang="en-US" b="1" dirty="0">
                <a:solidFill>
                  <a:srgbClr val="000000"/>
                </a:solidFill>
              </a:rPr>
              <a:t>Server URL</a:t>
            </a:r>
          </a:p>
          <a:p>
            <a:pPr>
              <a:buFontTx/>
              <a:buChar char="-"/>
            </a:pPr>
            <a:r>
              <a:rPr lang="en-US" b="1" dirty="0">
                <a:solidFill>
                  <a:srgbClr val="000000"/>
                </a:solidFill>
              </a:rPr>
              <a:t>API Key + Secret</a:t>
            </a:r>
          </a:p>
          <a:p>
            <a:pPr>
              <a:buFontTx/>
              <a:buChar char="-"/>
            </a:pPr>
            <a:r>
              <a:rPr lang="en-US" b="1" dirty="0">
                <a:solidFill>
                  <a:srgbClr val="000000"/>
                </a:solidFill>
              </a:rPr>
              <a:t>32-bit JDK 8 location</a:t>
            </a:r>
          </a:p>
          <a:p>
            <a:endParaRPr lang="en-US" b="1" dirty="0">
              <a:solidFill>
                <a:srgbClr val="00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792C36-ED90-4BEA-BDB5-98D622C9A4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320" y="1111835"/>
            <a:ext cx="6725374" cy="4136247"/>
          </a:xfrm>
          <a:prstGeom prst="rect">
            <a:avLst/>
          </a:prstGeom>
        </p:spPr>
      </p:pic>
      <p:sp>
        <p:nvSpPr>
          <p:cNvPr id="9" name="Arrow: Up 8">
            <a:extLst>
              <a:ext uri="{FF2B5EF4-FFF2-40B4-BE49-F238E27FC236}">
                <a16:creationId xmlns:a16="http://schemas.microsoft.com/office/drawing/2014/main" id="{6FB9DD2C-CAE3-45AC-8C72-8C37C85C259F}"/>
              </a:ext>
            </a:extLst>
          </p:cNvPr>
          <p:cNvSpPr/>
          <p:nvPr/>
        </p:nvSpPr>
        <p:spPr>
          <a:xfrm rot="16200000" flipH="1">
            <a:off x="3211763" y="3437347"/>
            <a:ext cx="416690" cy="1178877"/>
          </a:xfrm>
          <a:prstGeom prst="up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910B38FC-512C-4C47-A00A-35F85111FCF5}"/>
              </a:ext>
            </a:extLst>
          </p:cNvPr>
          <p:cNvSpPr/>
          <p:nvPr/>
        </p:nvSpPr>
        <p:spPr>
          <a:xfrm rot="16200000">
            <a:off x="3211765" y="2283468"/>
            <a:ext cx="416688" cy="1178878"/>
          </a:xfrm>
          <a:prstGeom prst="up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3F0F07-EC67-4BD7-B41D-E2E3BA93CB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320" y="923866"/>
            <a:ext cx="7433809" cy="413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04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6BA9C-6B41-484B-8C81-8ACEAA99B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25" y="415101"/>
            <a:ext cx="10311765" cy="1080000"/>
          </a:xfrm>
        </p:spPr>
        <p:txBody>
          <a:bodyPr/>
          <a:lstStyle/>
          <a:p>
            <a:r>
              <a:rPr lang="en-US" dirty="0"/>
              <a:t>Test Lab Module – Automation Tests Execu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BB50BBC-355D-4CF6-991A-022B42D46D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3530" y="1875070"/>
            <a:ext cx="7824490" cy="192749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9838A2-1B50-4140-A8D7-F21975C00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800BBB6B-C00F-4BD8-B252-7F502612C50E}"/>
              </a:ext>
            </a:extLst>
          </p:cNvPr>
          <p:cNvSpPr/>
          <p:nvPr/>
        </p:nvSpPr>
        <p:spPr>
          <a:xfrm>
            <a:off x="7221810" y="3504289"/>
            <a:ext cx="434898" cy="925551"/>
          </a:xfrm>
          <a:prstGeom prst="up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B8941B-A42D-4D2A-9C52-AE1021002E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324" y="2227915"/>
            <a:ext cx="5781675" cy="41243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40CFCC-922D-4BB6-97EA-F8E50F44EF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324" y="2546201"/>
            <a:ext cx="7653010" cy="19161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7D767B5-A862-4645-8044-AE1E82FE4078}"/>
              </a:ext>
            </a:extLst>
          </p:cNvPr>
          <p:cNvSpPr/>
          <p:nvPr/>
        </p:nvSpPr>
        <p:spPr>
          <a:xfrm>
            <a:off x="8498229" y="1480753"/>
            <a:ext cx="3200450" cy="33239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2000" b="1" dirty="0"/>
              <a:t>Automated Test Type Supported depends on testing tool installed on the machine.</a:t>
            </a:r>
          </a:p>
          <a:p>
            <a:pPr>
              <a:spcAft>
                <a:spcPts val="1800"/>
              </a:spcAft>
            </a:pPr>
            <a:r>
              <a:rPr lang="en-US" sz="2000" b="1" dirty="0"/>
              <a:t>No Testing Tool: VAPI-XP</a:t>
            </a:r>
          </a:p>
          <a:p>
            <a:pPr>
              <a:spcAft>
                <a:spcPts val="1800"/>
              </a:spcAft>
            </a:pPr>
            <a:r>
              <a:rPr lang="en-US" sz="2000" b="1" dirty="0"/>
              <a:t>UFT : </a:t>
            </a:r>
            <a:r>
              <a:rPr lang="en-US" sz="20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QUICKTEST_TEST, VAPI-XP, BUSINESS-PROCESS, FLOW, SERVICE-TEST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2337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5A1725F-440D-4412-ABD6-D6AD2D64ED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1143" y="1689624"/>
            <a:ext cx="8003355" cy="1566532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73F54A-DCD5-4FA0-9661-01657B81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A7F6028-112E-49EE-8C99-8722714AB1DC}"/>
              </a:ext>
            </a:extLst>
          </p:cNvPr>
          <p:cNvSpPr txBox="1">
            <a:spLocks/>
          </p:cNvSpPr>
          <p:nvPr/>
        </p:nvSpPr>
        <p:spPr>
          <a:xfrm>
            <a:off x="398795" y="468519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efects Modu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D175B5-2BD6-4C24-AA67-7F99EA49DDF5}"/>
              </a:ext>
            </a:extLst>
          </p:cNvPr>
          <p:cNvSpPr txBox="1"/>
          <p:nvPr/>
        </p:nvSpPr>
        <p:spPr>
          <a:xfrm>
            <a:off x="8781378" y="1598753"/>
            <a:ext cx="3328847" cy="397031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ea typeface="Roboto Light" charset="0"/>
                <a:cs typeface="Roboto Light" charset="0"/>
              </a:rPr>
              <a:t>Displays Defects in ALM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You can use the filter at the top to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1" dirty="0">
                <a:ea typeface="Roboto Light" charset="0"/>
                <a:cs typeface="Roboto Light" charset="0"/>
              </a:rPr>
              <a:t>All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Assigned to Me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1" dirty="0">
                <a:ea typeface="Roboto Light" charset="0"/>
                <a:cs typeface="Roboto Light" charset="0"/>
              </a:rPr>
              <a:t>Detected By Me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1" dirty="0">
                <a:ea typeface="Roboto Light" charset="0"/>
                <a:cs typeface="Roboto Light" charset="0"/>
              </a:rPr>
              <a:t>Filter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Favori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3EAE6E-6295-4B3E-90C1-C5782940FC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009" y="4358751"/>
            <a:ext cx="2779927" cy="11583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C12A72-640D-4780-81A4-088FF5DF0B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4739" y="4358752"/>
            <a:ext cx="1098190" cy="115830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B333A89-A4B0-4284-98CB-2C78A0E38D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74573" y="1783079"/>
            <a:ext cx="563928" cy="30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293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rrow: Down 12">
            <a:extLst>
              <a:ext uri="{FF2B5EF4-FFF2-40B4-BE49-F238E27FC236}">
                <a16:creationId xmlns:a16="http://schemas.microsoft.com/office/drawing/2014/main" id="{5BEBD5F9-0C9E-4B61-8FCD-6CEABD69F12A}"/>
              </a:ext>
            </a:extLst>
          </p:cNvPr>
          <p:cNvSpPr/>
          <p:nvPr/>
        </p:nvSpPr>
        <p:spPr>
          <a:xfrm rot="10800000">
            <a:off x="4984595" y="2418365"/>
            <a:ext cx="484632" cy="978408"/>
          </a:xfrm>
          <a:prstGeom prst="down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ED488-B130-4DFA-B85B-791EEE938D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6403D8-83C3-46CB-A09F-1FC4C54A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fects Module – Applying Custom Filter (NEW in ALM/Quality Center 16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683AB7-D75B-4254-9163-2FF942A6CC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079" y="1633917"/>
            <a:ext cx="7687105" cy="3525714"/>
          </a:xfrm>
          <a:prstGeom prst="rect">
            <a:avLst/>
          </a:prstGeom>
        </p:spPr>
      </p:pic>
      <p:sp>
        <p:nvSpPr>
          <p:cNvPr id="12" name="Arrow: Up 11">
            <a:extLst>
              <a:ext uri="{FF2B5EF4-FFF2-40B4-BE49-F238E27FC236}">
                <a16:creationId xmlns:a16="http://schemas.microsoft.com/office/drawing/2014/main" id="{B7845381-15BD-4BAF-8079-18772DF8FBE0}"/>
              </a:ext>
            </a:extLst>
          </p:cNvPr>
          <p:cNvSpPr/>
          <p:nvPr/>
        </p:nvSpPr>
        <p:spPr>
          <a:xfrm>
            <a:off x="4984595" y="2592334"/>
            <a:ext cx="484632" cy="978408"/>
          </a:xfrm>
          <a:prstGeom prst="up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920964-CD2E-456C-A702-B9DD68AF9A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9536" y="1611129"/>
            <a:ext cx="5535648" cy="471871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5A82781-1A59-431A-983A-C62A134E8A0D}"/>
              </a:ext>
            </a:extLst>
          </p:cNvPr>
          <p:cNvSpPr txBox="1"/>
          <p:nvPr/>
        </p:nvSpPr>
        <p:spPr>
          <a:xfrm>
            <a:off x="8614110" y="1899836"/>
            <a:ext cx="3328847" cy="138499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Fully Functional filter is now supported for Defect module</a:t>
            </a:r>
          </a:p>
        </p:txBody>
      </p:sp>
    </p:spTree>
    <p:extLst>
      <p:ext uri="{BB962C8B-B14F-4D97-AF65-F5344CB8AC3E}">
        <p14:creationId xmlns:p14="http://schemas.microsoft.com/office/powerpoint/2010/main" val="21848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91702-07D9-44D5-85A2-94041E057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Module – Applying Favorite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8D62FA5-BAAA-4138-8561-3010FB065C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39800" y="1697189"/>
            <a:ext cx="7697228" cy="299747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3C14AA-4F3E-4F74-80BD-FEC8F20102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A8C3EE-5ADF-4287-9764-46AC79F7A1E9}"/>
              </a:ext>
            </a:extLst>
          </p:cNvPr>
          <p:cNvSpPr txBox="1"/>
          <p:nvPr/>
        </p:nvSpPr>
        <p:spPr>
          <a:xfrm>
            <a:off x="8736773" y="1784196"/>
            <a:ext cx="3328847" cy="181588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Public and Private Favorites defined in ALM </a:t>
            </a:r>
            <a:r>
              <a:rPr lang="en-US" sz="2800" b="1" dirty="0">
                <a:ea typeface="Roboto Light" charset="0"/>
                <a:cs typeface="Roboto Light" charset="0"/>
              </a:rPr>
              <a:t>can be applied in the Web Runner</a:t>
            </a:r>
            <a:endParaRPr lang="en-US" sz="2800" b="1" dirty="0">
              <a:latin typeface="+mn-lt"/>
              <a:ea typeface="Roboto Light" charset="0"/>
              <a:cs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16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695B6-ABFC-49E6-B7C9-2DA27BA24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8432" y="223710"/>
            <a:ext cx="7445847" cy="570188"/>
          </a:xfrm>
        </p:spPr>
        <p:txBody>
          <a:bodyPr/>
          <a:lstStyle/>
          <a:p>
            <a:r>
              <a:rPr lang="en-US" dirty="0"/>
              <a:t>Dashboard Modu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CC224-AA9A-4B7E-9976-41D6786E6C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058CCA-D4DF-4391-A902-B752BABD4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008" y="1106132"/>
            <a:ext cx="7300017" cy="4852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DBF10E5-2498-4C90-BAA4-CD66A9C04669}"/>
              </a:ext>
            </a:extLst>
          </p:cNvPr>
          <p:cNvSpPr txBox="1">
            <a:spLocks/>
          </p:cNvSpPr>
          <p:nvPr/>
        </p:nvSpPr>
        <p:spPr>
          <a:xfrm>
            <a:off x="8364279" y="1320889"/>
            <a:ext cx="3494304" cy="92050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87338" indent="-287338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86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338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587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 dirty="0">
                <a:solidFill>
                  <a:srgbClr val="000000"/>
                </a:solidFill>
              </a:rPr>
              <a:t>See dashboards from ALM in WebRunner</a:t>
            </a:r>
          </a:p>
        </p:txBody>
      </p:sp>
    </p:spTree>
    <p:extLst>
      <p:ext uri="{BB962C8B-B14F-4D97-AF65-F5344CB8AC3E}">
        <p14:creationId xmlns:p14="http://schemas.microsoft.com/office/powerpoint/2010/main" val="11961531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34A999-1C72-48A3-896E-94565769A8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77">
              <a:defRPr/>
            </a:pPr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>
                <a:defRPr/>
              </a:pPr>
              <a:t>16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BC010E-5278-41F4-A01F-D4053AD34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 Settings – Defect For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05922-5A7F-4E3D-B90A-5FDD03E288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09" b="35115"/>
          <a:stretch/>
        </p:blipFill>
        <p:spPr>
          <a:xfrm>
            <a:off x="3954902" y="2418932"/>
            <a:ext cx="7303649" cy="3800177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DBF10E5-2498-4C90-BAA4-CD66A9C04669}"/>
              </a:ext>
            </a:extLst>
          </p:cNvPr>
          <p:cNvSpPr txBox="1">
            <a:spLocks/>
          </p:cNvSpPr>
          <p:nvPr/>
        </p:nvSpPr>
        <p:spPr>
          <a:xfrm>
            <a:off x="8841608" y="1006585"/>
            <a:ext cx="3233854" cy="141234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87338" indent="-287338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86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338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587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 dirty="0">
                <a:solidFill>
                  <a:srgbClr val="000000"/>
                </a:solidFill>
              </a:rPr>
              <a:t>Multiple forms can be created in the defect modu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E4ED2EA-0894-41E4-9DE6-395DCE1E59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733" y="3876348"/>
            <a:ext cx="2267909" cy="19265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424CE7-00F6-4CEB-A565-6247122038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733" y="4489048"/>
            <a:ext cx="1207113" cy="7011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312BFB-5FA5-45E8-9CF3-E2AFF73062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1073" y="2834641"/>
            <a:ext cx="2285194" cy="2293620"/>
          </a:xfrm>
          <a:prstGeom prst="rect">
            <a:avLst/>
          </a:prstGeom>
        </p:spPr>
      </p:pic>
      <p:sp>
        <p:nvSpPr>
          <p:cNvPr id="7" name="Arrow: Up 6">
            <a:extLst>
              <a:ext uri="{FF2B5EF4-FFF2-40B4-BE49-F238E27FC236}">
                <a16:creationId xmlns:a16="http://schemas.microsoft.com/office/drawing/2014/main" id="{2160432E-38FC-4B39-82A5-238F384951F9}"/>
              </a:ext>
            </a:extLst>
          </p:cNvPr>
          <p:cNvSpPr/>
          <p:nvPr/>
        </p:nvSpPr>
        <p:spPr>
          <a:xfrm>
            <a:off x="4373880" y="4149853"/>
            <a:ext cx="358140" cy="749807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36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34A999-1C72-48A3-896E-94565769A8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77">
              <a:defRPr/>
            </a:pPr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 defTabSz="914377">
                <a:defRPr/>
              </a:pPr>
              <a:t>17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BC010E-5278-41F4-A01F-D4053AD34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 Settings – Transition Ru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DBF10E5-2498-4C90-BAA4-CD66A9C04669}"/>
              </a:ext>
            </a:extLst>
          </p:cNvPr>
          <p:cNvSpPr txBox="1">
            <a:spLocks/>
          </p:cNvSpPr>
          <p:nvPr/>
        </p:nvSpPr>
        <p:spPr>
          <a:xfrm>
            <a:off x="7248293" y="1106139"/>
            <a:ext cx="4486507" cy="193541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87338" indent="-287338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86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338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587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 dirty="0">
                <a:solidFill>
                  <a:srgbClr val="000000"/>
                </a:solidFill>
              </a:rPr>
              <a:t>Transition Rules can be created to determine when each form will be us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9D625C-FB0E-4628-B39D-B6EC3FB0A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25" y="3163145"/>
            <a:ext cx="2267909" cy="192650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0604D43-F384-44BE-B416-7BAE0D9F9F8A}"/>
              </a:ext>
            </a:extLst>
          </p:cNvPr>
          <p:cNvSpPr/>
          <p:nvPr/>
        </p:nvSpPr>
        <p:spPr>
          <a:xfrm>
            <a:off x="759544" y="3808587"/>
            <a:ext cx="1144605" cy="635618"/>
          </a:xfrm>
          <a:prstGeom prst="rect">
            <a:avLst/>
          </a:prstGeom>
          <a:noFill/>
          <a:ln w="635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9C8659-3C55-4B37-80B8-F721155715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9920" y="2581171"/>
            <a:ext cx="8465820" cy="24705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ADDF3B8-1B0E-438E-882C-E84F139EDD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6318" y="2461716"/>
            <a:ext cx="4619625" cy="251341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04E159-D7F2-4143-B1EF-238CDDEE8A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6318" y="2543238"/>
            <a:ext cx="4619625" cy="254641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2C4A3-AF3A-4A70-9701-3878EFD70C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0800" y="3309385"/>
            <a:ext cx="353599" cy="7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37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3B53CDD-7CF9-45E8-8E36-57E8FD8C36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195828" y="3062274"/>
            <a:ext cx="4858824" cy="3171258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F02F54-8CD0-408A-902F-F4578549D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18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DF6E8C-764E-43C0-8E39-FA342D390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 Setting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68D6A35-80D7-4470-B0F4-5B58844784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0035" y="3062274"/>
            <a:ext cx="3439049" cy="303744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07CA0B-E5F7-49B5-A1C8-82D28C5ADAA5}"/>
              </a:ext>
            </a:extLst>
          </p:cNvPr>
          <p:cNvSpPr txBox="1">
            <a:spLocks/>
          </p:cNvSpPr>
          <p:nvPr/>
        </p:nvSpPr>
        <p:spPr>
          <a:xfrm>
            <a:off x="8420035" y="1590313"/>
            <a:ext cx="3494304" cy="920505"/>
          </a:xfrm>
          <a:prstGeom prst="rect">
            <a:avLst/>
          </a:prstGeom>
        </p:spPr>
        <p:txBody>
          <a:bodyPr vert="horz" lIns="0" tIns="45720" rIns="91440" bIns="45720" rtlCol="0">
            <a:normAutofit fontScale="85000" lnSpcReduction="20000"/>
          </a:bodyPr>
          <a:lstStyle>
            <a:lvl1pPr marL="287338" indent="-287338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86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338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587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 dirty="0">
                <a:solidFill>
                  <a:srgbClr val="000000"/>
                </a:solidFill>
              </a:rPr>
              <a:t>Customize fields to be display when running manual tes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41BF-A6E0-4BF6-960E-3C4EB889AE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32" y="4174934"/>
            <a:ext cx="2268913" cy="192478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5668DDA-462E-4862-BB93-CDDE1597E846}"/>
              </a:ext>
            </a:extLst>
          </p:cNvPr>
          <p:cNvSpPr/>
          <p:nvPr/>
        </p:nvSpPr>
        <p:spPr>
          <a:xfrm>
            <a:off x="561532" y="5464099"/>
            <a:ext cx="1144605" cy="635618"/>
          </a:xfrm>
          <a:prstGeom prst="rect">
            <a:avLst/>
          </a:prstGeom>
          <a:noFill/>
          <a:ln w="635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06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83E144F6-BB2C-45E3-9F1D-0164AD7952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902806" y="3124020"/>
            <a:ext cx="4966194" cy="3002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A7F6028-112E-49EE-8C99-8722714AB1DC}"/>
              </a:ext>
            </a:extLst>
          </p:cNvPr>
          <p:cNvSpPr txBox="1">
            <a:spLocks/>
          </p:cNvSpPr>
          <p:nvPr/>
        </p:nvSpPr>
        <p:spPr>
          <a:xfrm>
            <a:off x="1430130" y="94855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aa-ET" dirty="0">
                <a:solidFill>
                  <a:srgbClr val="212E35"/>
                </a:solidFill>
              </a:rPr>
              <a:t>W</a:t>
            </a:r>
            <a:r>
              <a:rPr lang="en-US" dirty="0">
                <a:solidFill>
                  <a:srgbClr val="212E35"/>
                </a:solidFill>
              </a:rPr>
              <a:t>e</a:t>
            </a:r>
            <a:r>
              <a:rPr lang="aa-ET" dirty="0">
                <a:solidFill>
                  <a:srgbClr val="212E35"/>
                </a:solidFill>
              </a:rPr>
              <a:t>b</a:t>
            </a:r>
            <a:r>
              <a:rPr lang="en-US" dirty="0">
                <a:solidFill>
                  <a:srgbClr val="212E35"/>
                </a:solidFill>
              </a:rPr>
              <a:t> R</a:t>
            </a:r>
            <a:r>
              <a:rPr lang="aa-ET" dirty="0">
                <a:solidFill>
                  <a:srgbClr val="212E35"/>
                </a:solidFill>
              </a:rPr>
              <a:t>u</a:t>
            </a:r>
            <a:r>
              <a:rPr lang="en-US" dirty="0">
                <a:solidFill>
                  <a:srgbClr val="212E35"/>
                </a:solidFill>
              </a:rPr>
              <a:t>n</a:t>
            </a:r>
            <a:r>
              <a:rPr lang="aa-ET" dirty="0">
                <a:solidFill>
                  <a:srgbClr val="212E35"/>
                </a:solidFill>
              </a:rPr>
              <a:t>n</a:t>
            </a:r>
            <a:r>
              <a:rPr lang="en-US" dirty="0">
                <a:solidFill>
                  <a:srgbClr val="212E35"/>
                </a:solidFill>
              </a:rPr>
              <a:t>e</a:t>
            </a:r>
            <a:r>
              <a:rPr lang="aa-ET" dirty="0">
                <a:solidFill>
                  <a:srgbClr val="212E35"/>
                </a:solidFill>
              </a:rPr>
              <a:t>r – </a:t>
            </a:r>
            <a:r>
              <a:rPr lang="en-US" dirty="0">
                <a:solidFill>
                  <a:srgbClr val="212E35"/>
                </a:solidFill>
              </a:rPr>
              <a:t>Cross Project Customiz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3C6B86-9CBF-4FD3-BEC1-2C924C64EF70}"/>
              </a:ext>
            </a:extLst>
          </p:cNvPr>
          <p:cNvSpPr txBox="1"/>
          <p:nvPr/>
        </p:nvSpPr>
        <p:spPr>
          <a:xfrm>
            <a:off x="7002289" y="1211604"/>
            <a:ext cx="4767229" cy="138499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>
              <a:defRPr/>
            </a:pPr>
            <a:r>
              <a:rPr lang="en-US" sz="2800" b="1" i="1" dirty="0">
                <a:solidFill>
                  <a:srgbClr val="212E35"/>
                </a:solidFill>
              </a:rPr>
              <a:t>When ready ap</a:t>
            </a:r>
            <a:r>
              <a:rPr lang="aa-ET" sz="2800" b="1" i="1" dirty="0">
                <a:solidFill>
                  <a:srgbClr val="212E35"/>
                </a:solidFill>
              </a:rPr>
              <a:t>p</a:t>
            </a:r>
            <a:r>
              <a:rPr lang="en-US" sz="2800" b="1" i="1" dirty="0">
                <a:solidFill>
                  <a:srgbClr val="212E35"/>
                </a:solidFill>
              </a:rPr>
              <a:t>l</a:t>
            </a:r>
            <a:r>
              <a:rPr lang="aa-ET" sz="2800" b="1" i="1" dirty="0">
                <a:solidFill>
                  <a:srgbClr val="212E35"/>
                </a:solidFill>
              </a:rPr>
              <a:t>y </a:t>
            </a:r>
            <a:r>
              <a:rPr lang="en-US" sz="2800" b="1" i="1" dirty="0">
                <a:solidFill>
                  <a:srgbClr val="212E35"/>
                </a:solidFill>
              </a:rPr>
              <a:t>s</a:t>
            </a:r>
            <a:r>
              <a:rPr lang="aa-ET" sz="2800" b="1" i="1" dirty="0">
                <a:solidFill>
                  <a:srgbClr val="212E35"/>
                </a:solidFill>
              </a:rPr>
              <a:t>e</a:t>
            </a:r>
            <a:r>
              <a:rPr lang="en-US" sz="2800" b="1" i="1" dirty="0">
                <a:solidFill>
                  <a:srgbClr val="212E35"/>
                </a:solidFill>
              </a:rPr>
              <a:t>t</a:t>
            </a:r>
            <a:r>
              <a:rPr lang="aa-ET" sz="2800" b="1" i="1" dirty="0">
                <a:solidFill>
                  <a:srgbClr val="212E35"/>
                </a:solidFill>
              </a:rPr>
              <a:t>t</a:t>
            </a:r>
            <a:r>
              <a:rPr lang="en-US" sz="2800" b="1" i="1" dirty="0">
                <a:solidFill>
                  <a:srgbClr val="212E35"/>
                </a:solidFill>
              </a:rPr>
              <a:t>i</a:t>
            </a:r>
            <a:r>
              <a:rPr lang="aa-ET" sz="2800" b="1" i="1" dirty="0">
                <a:solidFill>
                  <a:srgbClr val="212E35"/>
                </a:solidFill>
              </a:rPr>
              <a:t>n</a:t>
            </a:r>
            <a:r>
              <a:rPr lang="en-US" sz="2800" b="1" i="1" dirty="0">
                <a:solidFill>
                  <a:srgbClr val="212E35"/>
                </a:solidFill>
              </a:rPr>
              <a:t>g</a:t>
            </a:r>
            <a:r>
              <a:rPr lang="aa-ET" sz="2800" b="1" i="1" dirty="0">
                <a:solidFill>
                  <a:srgbClr val="212E35"/>
                </a:solidFill>
              </a:rPr>
              <a:t>s </a:t>
            </a:r>
            <a:r>
              <a:rPr lang="en-US" sz="2800" b="1" i="1" dirty="0">
                <a:solidFill>
                  <a:srgbClr val="212E35"/>
                </a:solidFill>
              </a:rPr>
              <a:t>t</a:t>
            </a:r>
            <a:r>
              <a:rPr lang="aa-ET" sz="2800" b="1" i="1" dirty="0">
                <a:solidFill>
                  <a:srgbClr val="212E35"/>
                </a:solidFill>
              </a:rPr>
              <a:t>o linked projects</a:t>
            </a:r>
            <a:br>
              <a:rPr lang="en-US" dirty="0">
                <a:solidFill>
                  <a:srgbClr val="212E35"/>
                </a:solidFill>
                <a:ea typeface="Roboto Light" charset="0"/>
                <a:cs typeface="Roboto Light" charset="0"/>
              </a:rPr>
            </a:br>
            <a:r>
              <a:rPr lang="aa-ET" sz="280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 </a:t>
            </a:r>
            <a:r>
              <a:rPr lang="en-US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*A</a:t>
            </a:r>
            <a:r>
              <a:rPr lang="aa-ET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LM </a:t>
            </a:r>
            <a:r>
              <a:rPr lang="en-US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e</a:t>
            </a:r>
            <a:r>
              <a:rPr lang="aa-ET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d</a:t>
            </a:r>
            <a:r>
              <a:rPr lang="en-US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i</a:t>
            </a:r>
            <a:r>
              <a:rPr lang="aa-ET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t</a:t>
            </a:r>
            <a:r>
              <a:rPr lang="en-US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i</a:t>
            </a:r>
            <a:r>
              <a:rPr lang="aa-ET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o</a:t>
            </a:r>
            <a:r>
              <a:rPr lang="en-US" sz="200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n only</a:t>
            </a:r>
            <a:endParaRPr lang="en-US" sz="1400" i="1" dirty="0">
              <a:solidFill>
                <a:srgbClr val="212E35"/>
              </a:solidFill>
              <a:ea typeface="Roboto Light" charset="0"/>
              <a:cs typeface="Roboto Light" charset="0"/>
            </a:endParaRPr>
          </a:p>
        </p:txBody>
      </p:sp>
      <p:pic>
        <p:nvPicPr>
          <p:cNvPr id="9" name="Content Placeholder 6">
            <a:extLst>
              <a:ext uri="{FF2B5EF4-FFF2-40B4-BE49-F238E27FC236}">
                <a16:creationId xmlns:a16="http://schemas.microsoft.com/office/drawing/2014/main" id="{7EC0B105-5C9F-4F46-B7F0-30AABC9F3F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866" y="3346286"/>
            <a:ext cx="2166127" cy="27800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3AA116-1845-4645-8D7B-557AA19331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8037" y="2100643"/>
            <a:ext cx="3662821" cy="40002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0223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333" dirty="0">
                <a:latin typeface="Calibri" panose="020F0502020204030204" pitchFamily="34" charset="0"/>
                <a:cs typeface="Calibri" panose="020F0502020204030204" pitchFamily="34" charset="0"/>
              </a:rPr>
              <a:t>ALM/Quality Center Web Runn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6B3A13-DE5F-5340-B63F-31987DB421F9}"/>
              </a:ext>
            </a:extLst>
          </p:cNvPr>
          <p:cNvSpPr txBox="1"/>
          <p:nvPr/>
        </p:nvSpPr>
        <p:spPr>
          <a:xfrm>
            <a:off x="406401" y="5359401"/>
            <a:ext cx="60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MF SaaS Technical Solutions Consultant</a:t>
            </a:r>
          </a:p>
        </p:txBody>
      </p:sp>
    </p:spTree>
    <p:extLst>
      <p:ext uri="{BB962C8B-B14F-4D97-AF65-F5344CB8AC3E}">
        <p14:creationId xmlns:p14="http://schemas.microsoft.com/office/powerpoint/2010/main" val="13346004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ED488-B130-4DFA-B85B-791EEE938D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20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6403D8-83C3-46CB-A09F-1FC4C54A6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005" y="429273"/>
            <a:ext cx="10311765" cy="1080000"/>
          </a:xfrm>
        </p:spPr>
        <p:txBody>
          <a:bodyPr/>
          <a:lstStyle/>
          <a:p>
            <a:r>
              <a:rPr lang="en-US" dirty="0"/>
              <a:t>Web Runner – Admin P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F0FA94-FBF5-4662-ACA4-C7A82203E1AB}"/>
              </a:ext>
            </a:extLst>
          </p:cNvPr>
          <p:cNvSpPr txBox="1"/>
          <p:nvPr/>
        </p:nvSpPr>
        <p:spPr>
          <a:xfrm>
            <a:off x="7405651" y="1686767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rmAutofit lnSpcReduction="10000"/>
          </a:bodyPr>
          <a:lstStyle/>
          <a:p>
            <a:pPr marL="0" indent="0">
              <a:spcAft>
                <a:spcPts val="1800"/>
              </a:spcAft>
              <a:buNone/>
            </a:pPr>
            <a:r>
              <a:rPr lang="en-US" sz="2400" b="1" dirty="0"/>
              <a:t>Enable/Disable Web Runner 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 sz="2400" b="1" dirty="0"/>
              <a:t>per module per Projec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019692-070D-43CF-84E5-0A83C0DB2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033" y="969273"/>
            <a:ext cx="5442186" cy="5195455"/>
          </a:xfrm>
          <a:prstGeom prst="rect">
            <a:avLst/>
          </a:prstGeom>
        </p:spPr>
      </p:pic>
      <p:sp>
        <p:nvSpPr>
          <p:cNvPr id="10" name="Arrow: Down 9">
            <a:extLst>
              <a:ext uri="{FF2B5EF4-FFF2-40B4-BE49-F238E27FC236}">
                <a16:creationId xmlns:a16="http://schemas.microsoft.com/office/drawing/2014/main" id="{78B14B78-64BB-4BC0-A12F-073983D0D400}"/>
              </a:ext>
            </a:extLst>
          </p:cNvPr>
          <p:cNvSpPr/>
          <p:nvPr/>
        </p:nvSpPr>
        <p:spPr>
          <a:xfrm>
            <a:off x="2283712" y="4375644"/>
            <a:ext cx="484632" cy="978408"/>
          </a:xfrm>
          <a:prstGeom prst="downArrow">
            <a:avLst/>
          </a:prstGeom>
          <a:solidFill>
            <a:srgbClr val="E50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892A5E-F3EE-400B-86DE-52EAB24AEE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640" y="2546571"/>
            <a:ext cx="11071231" cy="30117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427751-C39D-4290-BC25-0BD1DAA887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3394" y="3223635"/>
            <a:ext cx="4973444" cy="47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120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A2BE-338B-4C23-AD4A-0EA365834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unner – License consump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0EC30-7FE3-46C9-9E90-81E550B187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21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D11F89-E4DA-4D53-8A63-976237DE3CC7}"/>
              </a:ext>
            </a:extLst>
          </p:cNvPr>
          <p:cNvSpPr/>
          <p:nvPr/>
        </p:nvSpPr>
        <p:spPr>
          <a:xfrm>
            <a:off x="414512" y="1754958"/>
            <a:ext cx="8524321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bRunner</a:t>
            </a:r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- Web Runner Client.  Full ALM License is consum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8836A7-5E1B-475D-A1BE-A4271615D6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512" y="2829940"/>
            <a:ext cx="10725556" cy="3223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603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4563" y="3767327"/>
            <a:ext cx="10313987" cy="1874520"/>
          </a:xfrm>
        </p:spPr>
        <p:txBody>
          <a:bodyPr/>
          <a:lstStyle/>
          <a:p>
            <a:r>
              <a:rPr lang="en-US"/>
              <a:t>Inform Slides (Details On Slide 2)</a:t>
            </a:r>
          </a:p>
        </p:txBody>
      </p:sp>
      <p:pic>
        <p:nvPicPr>
          <p:cNvPr id="3" name="Picture 2" descr="×ª××¦××ª ×ª××× × ×¢×××¨ âªThank youâ¬â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321" y="-43979"/>
            <a:ext cx="12319321" cy="703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861197"/>
      </p:ext>
    </p:extLst>
  </p:cSld>
  <p:clrMapOvr>
    <a:masterClrMapping/>
  </p:clrMapOvr>
  <p:transition spd="med"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estions &amp; Answers</a:t>
            </a:r>
          </a:p>
        </p:txBody>
      </p:sp>
    </p:spTree>
    <p:extLst>
      <p:ext uri="{BB962C8B-B14F-4D97-AF65-F5344CB8AC3E}">
        <p14:creationId xmlns:p14="http://schemas.microsoft.com/office/powerpoint/2010/main" val="3341631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463819" y="3953550"/>
            <a:ext cx="3168352" cy="359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33" dirty="0" err="1">
                <a:solidFill>
                  <a:srgbClr val="61EEEC"/>
                </a:solidFill>
              </a:rPr>
              <a:t>www.microfocus.com</a:t>
            </a:r>
            <a:endParaRPr lang="en-US" sz="1733" dirty="0">
              <a:solidFill>
                <a:srgbClr val="61EE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417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/>
          <p:nvPr/>
        </p:nvSpPr>
        <p:spPr>
          <a:xfrm>
            <a:off x="934313" y="389585"/>
            <a:ext cx="146367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3600" b="1" dirty="0">
                <a:solidFill>
                  <a:prstClr val="black"/>
                </a:solidFill>
                <a:cs typeface="Calibri"/>
              </a:rPr>
              <a:t>A</a:t>
            </a:r>
            <a:r>
              <a:rPr sz="3600" b="1" spc="-55" dirty="0">
                <a:solidFill>
                  <a:prstClr val="black"/>
                </a:solidFill>
                <a:cs typeface="Calibri"/>
              </a:rPr>
              <a:t>g</a:t>
            </a:r>
            <a:r>
              <a:rPr sz="3600" b="1" spc="5" dirty="0">
                <a:solidFill>
                  <a:prstClr val="black"/>
                </a:solidFill>
                <a:cs typeface="Calibri"/>
              </a:rPr>
              <a:t>e</a:t>
            </a:r>
            <a:r>
              <a:rPr sz="3600" b="1" dirty="0">
                <a:solidFill>
                  <a:prstClr val="black"/>
                </a:solidFill>
                <a:cs typeface="Calibri"/>
              </a:rPr>
              <a:t>n</a:t>
            </a:r>
            <a:r>
              <a:rPr sz="3600" b="1" spc="15" dirty="0">
                <a:solidFill>
                  <a:prstClr val="black"/>
                </a:solidFill>
                <a:cs typeface="Calibri"/>
              </a:rPr>
              <a:t>d</a:t>
            </a:r>
            <a:r>
              <a:rPr sz="3600" b="1" dirty="0">
                <a:solidFill>
                  <a:prstClr val="black"/>
                </a:solidFill>
                <a:cs typeface="Calibri"/>
              </a:rPr>
              <a:t>a</a:t>
            </a:r>
            <a:endParaRPr sz="3600">
              <a:solidFill>
                <a:prstClr val="black"/>
              </a:solidFill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61621" y="6443879"/>
            <a:ext cx="9715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100" dirty="0">
                <a:solidFill>
                  <a:srgbClr val="BEBEBE"/>
                </a:solidFill>
                <a:cs typeface="Calibri"/>
              </a:rPr>
              <a:t>2</a:t>
            </a:r>
            <a:endParaRPr sz="1100">
              <a:solidFill>
                <a:prstClr val="black"/>
              </a:solidFill>
              <a:cs typeface="Calibri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6025310-3036-4DF4-923F-39708F01B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314" y="1498600"/>
            <a:ext cx="9718039" cy="984885"/>
          </a:xfrm>
        </p:spPr>
        <p:txBody>
          <a:bodyPr/>
          <a:lstStyle/>
          <a:p>
            <a:br>
              <a:rPr lang="en-US" sz="2133" dirty="0"/>
            </a:br>
            <a:br>
              <a:rPr lang="en-US" sz="2133" dirty="0"/>
            </a:br>
            <a:endParaRPr lang="en-US" sz="2133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558F78-1150-4491-AF57-05ECF3F524CA}"/>
              </a:ext>
            </a:extLst>
          </p:cNvPr>
          <p:cNvSpPr/>
          <p:nvPr/>
        </p:nvSpPr>
        <p:spPr>
          <a:xfrm>
            <a:off x="779031" y="1156653"/>
            <a:ext cx="10181069" cy="5827301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marL="514350" indent="-514350">
              <a:buAutoNum type="arabicPeriod"/>
            </a:pPr>
            <a:r>
              <a:rPr lang="en-US" sz="3200" dirty="0"/>
              <a:t>Web Runner Introduction</a:t>
            </a:r>
          </a:p>
          <a:p>
            <a:pPr marL="514350" indent="-514350">
              <a:buAutoNum type="arabicPeriod"/>
            </a:pPr>
            <a:r>
              <a:rPr lang="en-US" sz="3200" dirty="0"/>
              <a:t>Test Plan Module (NEW in ALM/Quality Center 16) – Test Authoring</a:t>
            </a:r>
          </a:p>
          <a:p>
            <a:pPr marL="514350" indent="-514350">
              <a:buAutoNum type="arabicPeriod"/>
            </a:pPr>
            <a:r>
              <a:rPr lang="en-US" sz="3200" dirty="0"/>
              <a:t>Test Lab Module - Manual and Automated Tests Execution</a:t>
            </a:r>
          </a:p>
          <a:p>
            <a:pPr marL="514350" indent="-514350">
              <a:buAutoNum type="arabicPeriod"/>
            </a:pPr>
            <a:r>
              <a:rPr lang="en-US" sz="3200" dirty="0"/>
              <a:t>Defects Module – Defect Edit and Submission </a:t>
            </a:r>
          </a:p>
          <a:p>
            <a:pPr marL="514350" indent="-514350">
              <a:buAutoNum type="arabicPeriod"/>
            </a:pPr>
            <a:r>
              <a:rPr lang="en-US" sz="3200" dirty="0"/>
              <a:t>Settings - Defect and Run Settings</a:t>
            </a:r>
          </a:p>
          <a:p>
            <a:pPr marL="514350" indent="-514350">
              <a:buFontTx/>
              <a:buAutoNum type="arabicPeriod"/>
            </a:pPr>
            <a:r>
              <a:rPr lang="en-US" sz="3200" dirty="0"/>
              <a:t>Cross Project Customization</a:t>
            </a:r>
          </a:p>
          <a:p>
            <a:pPr marL="514350" indent="-514350">
              <a:buAutoNum type="arabicPeriod"/>
            </a:pPr>
            <a:r>
              <a:rPr lang="en-US" sz="3200" dirty="0"/>
              <a:t>Admin Page – Enable/Disable Modules</a:t>
            </a:r>
          </a:p>
          <a:p>
            <a:pPr marL="514350" indent="-514350">
              <a:buAutoNum type="arabicPeriod"/>
            </a:pPr>
            <a:r>
              <a:rPr lang="en-US" sz="3200" dirty="0"/>
              <a:t>License Consumption</a:t>
            </a:r>
          </a:p>
          <a:p>
            <a:r>
              <a:rPr lang="en-US" sz="3200" dirty="0"/>
              <a:t>9.  Q&amp;A</a:t>
            </a:r>
            <a:br>
              <a:rPr lang="en-US" sz="1867" dirty="0"/>
            </a:br>
            <a:endParaRPr lang="en-US" sz="1867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1656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8BB21C-D8D3-4718-A09A-3B648E28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unner Intr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317BB5-CA38-4017-B4BC-451C595A86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6786" y="1505415"/>
            <a:ext cx="10311765" cy="467154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12E35"/>
                </a:solidFill>
              </a:rPr>
              <a:t>A new, lightweight, and pure web-based tool.</a:t>
            </a:r>
            <a:endParaRPr lang="en-US" dirty="0"/>
          </a:p>
          <a:p>
            <a:r>
              <a:rPr lang="en-US" dirty="0"/>
              <a:t>Web Runner is a test authoring and execution tool. </a:t>
            </a:r>
          </a:p>
          <a:p>
            <a:r>
              <a:rPr lang="en-US" dirty="0"/>
              <a:t>It enables you to create manual tests, run both manual and automation tests, submit and edit defects </a:t>
            </a:r>
            <a:r>
              <a:rPr lang="en-US"/>
              <a:t>and viewing </a:t>
            </a:r>
            <a:r>
              <a:rPr lang="en-US" dirty="0"/>
              <a:t>the dashboard from a Web browser, without the need to download the ALM client. </a:t>
            </a:r>
          </a:p>
          <a:p>
            <a:r>
              <a:rPr lang="en-US" dirty="0"/>
              <a:t>It also offers a different set of forms and rules to enforce your process without using the ALM workflow</a:t>
            </a:r>
          </a:p>
          <a:p>
            <a:r>
              <a:rPr lang="en-US" dirty="0"/>
              <a:t>After creating your tests and completing your test runs, the test results along with any submitted defects are automatically saved to ALM</a:t>
            </a:r>
          </a:p>
        </p:txBody>
      </p:sp>
    </p:spTree>
    <p:extLst>
      <p:ext uri="{BB962C8B-B14F-4D97-AF65-F5344CB8AC3E}">
        <p14:creationId xmlns:p14="http://schemas.microsoft.com/office/powerpoint/2010/main" val="384886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ED488-B130-4DFA-B85B-791EEE938D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6403D8-83C3-46CB-A09F-1FC4C54A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Module - Test Authoring (NEW in ALM/Quality Center 16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1D808F-BED5-410A-B9B4-E66D2245E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402223"/>
            <a:ext cx="6915150" cy="40940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4C33AD-FC51-4FCA-8816-26626C038EBD}"/>
              </a:ext>
            </a:extLst>
          </p:cNvPr>
          <p:cNvSpPr txBox="1"/>
          <p:nvPr/>
        </p:nvSpPr>
        <p:spPr>
          <a:xfrm>
            <a:off x="1088020" y="253485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/>
          <a:p>
            <a:pPr marL="0" indent="0">
              <a:spcAft>
                <a:spcPts val="1800"/>
              </a:spcAft>
              <a:buNone/>
            </a:pPr>
            <a:endParaRPr 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07BCF4-9FED-4DDB-A5F1-F5A73A3A8798}"/>
              </a:ext>
            </a:extLst>
          </p:cNvPr>
          <p:cNvSpPr txBox="1"/>
          <p:nvPr/>
        </p:nvSpPr>
        <p:spPr>
          <a:xfrm>
            <a:off x="7280910" y="1052073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342900" indent="-342900">
              <a:spcAft>
                <a:spcPts val="1800"/>
              </a:spcAft>
              <a:buFontTx/>
              <a:buChar char="-"/>
            </a:pPr>
            <a:r>
              <a:rPr lang="en-US" sz="1600" b="1" dirty="0"/>
              <a:t>Folder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Add/Delete/Duplicate/Rename</a:t>
            </a:r>
          </a:p>
          <a:p>
            <a:pPr marL="342900" indent="-342900">
              <a:spcAft>
                <a:spcPts val="1800"/>
              </a:spcAft>
              <a:buFontTx/>
              <a:buChar char="-"/>
            </a:pPr>
            <a:r>
              <a:rPr lang="en-US" sz="1600" b="1" dirty="0"/>
              <a:t>Manual Tests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Add/Delete/Duplicate/Rename 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Edit required fields in Details pane</a:t>
            </a:r>
          </a:p>
          <a:p>
            <a:pPr marL="342900" indent="-342900">
              <a:spcAft>
                <a:spcPts val="1800"/>
              </a:spcAft>
              <a:buFontTx/>
              <a:buChar char="-"/>
            </a:pPr>
            <a:r>
              <a:rPr lang="en-US" sz="1600" b="1" dirty="0"/>
              <a:t>Design Steps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Add/Copy/Delete/Modify/Paste 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Edit required fields</a:t>
            </a:r>
          </a:p>
          <a:p>
            <a:pPr marL="342900" indent="-342900">
              <a:spcAft>
                <a:spcPts val="1800"/>
              </a:spcAft>
              <a:buFontTx/>
              <a:buChar char="-"/>
            </a:pPr>
            <a:r>
              <a:rPr lang="en-US" sz="1600" b="1" dirty="0"/>
              <a:t>Attachments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Add/Delete (for both Tests and Design Steps)</a:t>
            </a:r>
          </a:p>
          <a:p>
            <a:pPr marL="342900" indent="-342900">
              <a:spcAft>
                <a:spcPts val="1800"/>
              </a:spcAft>
              <a:buFontTx/>
              <a:buChar char="-"/>
            </a:pPr>
            <a:endParaRPr lang="en-US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55C9D9-7836-4072-BA23-A0A16F29EA17}"/>
              </a:ext>
            </a:extLst>
          </p:cNvPr>
          <p:cNvSpPr/>
          <p:nvPr/>
        </p:nvSpPr>
        <p:spPr>
          <a:xfrm>
            <a:off x="1545220" y="1658434"/>
            <a:ext cx="710300" cy="259965"/>
          </a:xfrm>
          <a:prstGeom prst="rect">
            <a:avLst/>
          </a:prstGeom>
          <a:noFill/>
          <a:ln w="635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28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148F1-A92E-4B2D-8FF9-D1EB29093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Lab Module - T</a:t>
            </a:r>
            <a:r>
              <a:rPr lang="aa-ET" dirty="0"/>
              <a:t>e</a:t>
            </a:r>
            <a:r>
              <a:rPr lang="en-US" dirty="0"/>
              <a:t>s</a:t>
            </a:r>
            <a:r>
              <a:rPr lang="aa-ET" dirty="0"/>
              <a:t>t </a:t>
            </a:r>
            <a:r>
              <a:rPr lang="en-US" dirty="0"/>
              <a:t>S</a:t>
            </a:r>
            <a:r>
              <a:rPr lang="aa-ET" dirty="0"/>
              <a:t>e</a:t>
            </a:r>
            <a:r>
              <a:rPr lang="en-US" dirty="0"/>
              <a:t>t</a:t>
            </a:r>
            <a:r>
              <a:rPr lang="aa-ET" dirty="0"/>
              <a:t>s </a:t>
            </a:r>
            <a:r>
              <a:rPr lang="en-US" dirty="0"/>
              <a:t>Execution Set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4126BB-AA21-4D2F-A084-0FAB79F30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C52380-6596-4EA7-9102-4C68BC16F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979" y="1403938"/>
            <a:ext cx="8308725" cy="293401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AC4BD0D-08C0-446B-B4A5-07E1C2AF5F9D}"/>
              </a:ext>
            </a:extLst>
          </p:cNvPr>
          <p:cNvSpPr txBox="1"/>
          <p:nvPr/>
        </p:nvSpPr>
        <p:spPr>
          <a:xfrm>
            <a:off x="8666704" y="1297670"/>
            <a:ext cx="3328847" cy="138499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Allow for execution of manual and automated tests</a:t>
            </a:r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06A86361-F678-4409-ACC4-5EF58ECC9B17}"/>
              </a:ext>
            </a:extLst>
          </p:cNvPr>
          <p:cNvSpPr/>
          <p:nvPr/>
        </p:nvSpPr>
        <p:spPr>
          <a:xfrm>
            <a:off x="7997791" y="3066428"/>
            <a:ext cx="97840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5CAFF0A-2091-4F1F-8F79-24342175A1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538635" y="3066428"/>
            <a:ext cx="7719917" cy="2822102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42E5AE5-0C65-4292-8EA5-24EAD8A73D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9759" y="1638300"/>
            <a:ext cx="690325" cy="38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612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F3192B8-9D46-45FF-B192-1ED54C30C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633" y="1373300"/>
            <a:ext cx="8655889" cy="504882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73F54A-DCD5-4FA0-9661-01657B81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A7F6028-112E-49EE-8C99-8722714AB1DC}"/>
              </a:ext>
            </a:extLst>
          </p:cNvPr>
          <p:cNvSpPr txBox="1">
            <a:spLocks/>
          </p:cNvSpPr>
          <p:nvPr/>
        </p:nvSpPr>
        <p:spPr>
          <a:xfrm>
            <a:off x="398795" y="468519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Lab Module </a:t>
            </a:r>
            <a:r>
              <a:rPr lang="aa-ET" dirty="0"/>
              <a:t>– </a:t>
            </a:r>
            <a:r>
              <a:rPr lang="en-US" dirty="0"/>
              <a:t>Manual T</a:t>
            </a:r>
            <a:r>
              <a:rPr lang="aa-ET" dirty="0"/>
              <a:t>e</a:t>
            </a:r>
            <a:r>
              <a:rPr lang="en-US" dirty="0"/>
              <a:t>s</a:t>
            </a:r>
            <a:r>
              <a:rPr lang="aa-ET" dirty="0"/>
              <a:t>t R</a:t>
            </a:r>
            <a:r>
              <a:rPr lang="en-US" dirty="0"/>
              <a:t>u</a:t>
            </a:r>
            <a:r>
              <a:rPr lang="aa-ET" dirty="0"/>
              <a:t>n </a:t>
            </a:r>
            <a:r>
              <a:rPr lang="en-US" dirty="0"/>
              <a:t>Detail V</a:t>
            </a:r>
            <a:r>
              <a:rPr lang="aa-ET" dirty="0"/>
              <a:t>i</a:t>
            </a:r>
            <a:r>
              <a:rPr lang="en-US" dirty="0"/>
              <a:t>e</a:t>
            </a:r>
            <a:r>
              <a:rPr lang="aa-ET" dirty="0"/>
              <a:t>w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617919-914B-4ADE-8060-79396498B33D}"/>
              </a:ext>
            </a:extLst>
          </p:cNvPr>
          <p:cNvSpPr txBox="1"/>
          <p:nvPr/>
        </p:nvSpPr>
        <p:spPr>
          <a:xfrm>
            <a:off x="8887522" y="1554148"/>
            <a:ext cx="3328847" cy="95410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Manual Test Run </a:t>
            </a:r>
            <a:r>
              <a:rPr lang="en-US" sz="2800" b="1">
                <a:latin typeface="+mn-lt"/>
                <a:ea typeface="Roboto Light" charset="0"/>
                <a:cs typeface="Roboto Light" charset="0"/>
              </a:rPr>
              <a:t>Detail View</a:t>
            </a:r>
            <a:endParaRPr lang="en-US" sz="2800" b="1" dirty="0">
              <a:latin typeface="+mn-lt"/>
              <a:ea typeface="Roboto Light" charset="0"/>
              <a:cs typeface="Roboto Light" charset="0"/>
            </a:endParaRPr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9A1B9486-DC9A-4E10-9EA3-4C5268682611}"/>
              </a:ext>
            </a:extLst>
          </p:cNvPr>
          <p:cNvSpPr/>
          <p:nvPr/>
        </p:nvSpPr>
        <p:spPr>
          <a:xfrm rot="10800000">
            <a:off x="6480810" y="2583052"/>
            <a:ext cx="364166" cy="6188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8715BC64-E65E-46CE-A3FF-23D82B41DDAB}"/>
              </a:ext>
            </a:extLst>
          </p:cNvPr>
          <p:cNvSpPr/>
          <p:nvPr/>
        </p:nvSpPr>
        <p:spPr>
          <a:xfrm>
            <a:off x="870962" y="2583052"/>
            <a:ext cx="809248" cy="36736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F630A0-8FE2-4270-B7E8-6CC44665DE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6985" y="4648153"/>
            <a:ext cx="4541932" cy="780966"/>
          </a:xfrm>
          <a:prstGeom prst="rect">
            <a:avLst/>
          </a:prstGeom>
        </p:spPr>
      </p:pic>
      <p:sp>
        <p:nvSpPr>
          <p:cNvPr id="12" name="Arrow: Left 11">
            <a:extLst>
              <a:ext uri="{FF2B5EF4-FFF2-40B4-BE49-F238E27FC236}">
                <a16:creationId xmlns:a16="http://schemas.microsoft.com/office/drawing/2014/main" id="{12A5E5F8-3B83-43E0-8158-C809EDB23E3F}"/>
              </a:ext>
            </a:extLst>
          </p:cNvPr>
          <p:cNvSpPr/>
          <p:nvPr/>
        </p:nvSpPr>
        <p:spPr>
          <a:xfrm>
            <a:off x="8887522" y="3987150"/>
            <a:ext cx="880110" cy="36576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2A09AC90-4902-4E7A-9002-7DD9156AA6EE}"/>
              </a:ext>
            </a:extLst>
          </p:cNvPr>
          <p:cNvSpPr/>
          <p:nvPr/>
        </p:nvSpPr>
        <p:spPr>
          <a:xfrm>
            <a:off x="8887522" y="4465273"/>
            <a:ext cx="880110" cy="36576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68B6DC-9812-4B0B-8D48-A22215254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3390" y="5716616"/>
            <a:ext cx="2922573" cy="617284"/>
          </a:xfrm>
          <a:prstGeom prst="rect">
            <a:avLst/>
          </a:prstGeom>
        </p:spPr>
      </p:pic>
      <p:sp>
        <p:nvSpPr>
          <p:cNvPr id="15" name="Arrow: Up 14">
            <a:extLst>
              <a:ext uri="{FF2B5EF4-FFF2-40B4-BE49-F238E27FC236}">
                <a16:creationId xmlns:a16="http://schemas.microsoft.com/office/drawing/2014/main" id="{1B17604A-68FC-4CF5-9340-B7B4D55DBC11}"/>
              </a:ext>
            </a:extLst>
          </p:cNvPr>
          <p:cNvSpPr/>
          <p:nvPr/>
        </p:nvSpPr>
        <p:spPr>
          <a:xfrm>
            <a:off x="7733617" y="2557782"/>
            <a:ext cx="364166" cy="64409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2A260515-548F-4634-8689-2AB0B62F40A9}"/>
              </a:ext>
            </a:extLst>
          </p:cNvPr>
          <p:cNvSpPr/>
          <p:nvPr/>
        </p:nvSpPr>
        <p:spPr>
          <a:xfrm>
            <a:off x="8145233" y="2583052"/>
            <a:ext cx="364166" cy="64409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75004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12" grpId="0" animBg="1"/>
      <p:bldP spid="13" grpId="0" animBg="1"/>
      <p:bldP spid="15" grpId="0" animBg="1"/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73F54A-DCD5-4FA0-9661-01657B81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A7F6028-112E-49EE-8C99-8722714AB1DC}"/>
              </a:ext>
            </a:extLst>
          </p:cNvPr>
          <p:cNvSpPr txBox="1">
            <a:spLocks/>
          </p:cNvSpPr>
          <p:nvPr/>
        </p:nvSpPr>
        <p:spPr>
          <a:xfrm>
            <a:off x="398795" y="468519"/>
            <a:ext cx="10311765" cy="9746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Lab Module </a:t>
            </a:r>
            <a:r>
              <a:rPr lang="aa-ET" dirty="0"/>
              <a:t>– </a:t>
            </a:r>
            <a:r>
              <a:rPr lang="en-US" dirty="0"/>
              <a:t>Manual T</a:t>
            </a:r>
            <a:r>
              <a:rPr lang="aa-ET" dirty="0"/>
              <a:t>e</a:t>
            </a:r>
            <a:r>
              <a:rPr lang="en-US" dirty="0"/>
              <a:t>s</a:t>
            </a:r>
            <a:r>
              <a:rPr lang="aa-ET" dirty="0"/>
              <a:t>t R</a:t>
            </a:r>
            <a:r>
              <a:rPr lang="en-US" dirty="0"/>
              <a:t>u</a:t>
            </a:r>
            <a:r>
              <a:rPr lang="aa-ET" dirty="0"/>
              <a:t>n </a:t>
            </a:r>
            <a:r>
              <a:rPr lang="en-US" dirty="0"/>
              <a:t>Grid V</a:t>
            </a:r>
            <a:r>
              <a:rPr lang="aa-ET" dirty="0"/>
              <a:t>i</a:t>
            </a:r>
            <a:r>
              <a:rPr lang="en-US" dirty="0"/>
              <a:t>e</a:t>
            </a:r>
            <a:r>
              <a:rPr lang="aa-ET" dirty="0"/>
              <a:t>w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7A5F61-41A6-4E2D-BCAE-40EB433E77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367" y="1773043"/>
            <a:ext cx="8045735" cy="35947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2958B9-78CE-46A9-9E82-8251992AB320}"/>
              </a:ext>
            </a:extLst>
          </p:cNvPr>
          <p:cNvSpPr txBox="1"/>
          <p:nvPr/>
        </p:nvSpPr>
        <p:spPr>
          <a:xfrm>
            <a:off x="8887522" y="1554148"/>
            <a:ext cx="3328847" cy="95410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latin typeface="+mn-lt"/>
                <a:ea typeface="Roboto Light" charset="0"/>
                <a:cs typeface="Roboto Light" charset="0"/>
              </a:rPr>
              <a:t>Manual Test </a:t>
            </a:r>
            <a:r>
              <a:rPr lang="en-US" sz="2800" b="1">
                <a:latin typeface="+mn-lt"/>
                <a:ea typeface="Roboto Light" charset="0"/>
                <a:cs typeface="Roboto Light" charset="0"/>
              </a:rPr>
              <a:t>Grid View</a:t>
            </a:r>
            <a:endParaRPr lang="en-US" sz="2800" b="1" dirty="0">
              <a:latin typeface="+mn-lt"/>
              <a:ea typeface="Roboto Light" charset="0"/>
              <a:cs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837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FEA8C-782C-44EE-AE0B-5157CCC8C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est Lab Module – Defect Submission Upon Failed Step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B09682B-680E-452F-922B-7F78074C81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83873" y="3032895"/>
            <a:ext cx="5386039" cy="3157388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8E11-5C2F-4B1C-AE98-270CB45636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77A027-85A7-4974-97F9-CA715F921036}"/>
              </a:ext>
            </a:extLst>
          </p:cNvPr>
          <p:cNvSpPr txBox="1"/>
          <p:nvPr/>
        </p:nvSpPr>
        <p:spPr>
          <a:xfrm>
            <a:off x="7249480" y="1292305"/>
            <a:ext cx="3328847" cy="95410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b="1" dirty="0">
                <a:ea typeface="Roboto Light" charset="0"/>
                <a:cs typeface="Roboto Light" charset="0"/>
              </a:rPr>
              <a:t>Submit new Defect during test execution</a:t>
            </a:r>
            <a:endParaRPr lang="en-US" sz="2800" b="1" dirty="0">
              <a:latin typeface="+mn-lt"/>
              <a:ea typeface="Roboto Light" charset="0"/>
              <a:cs typeface="Roboto Light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719627-82B6-411B-AA68-7DCDF2AA73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4430" y="4151506"/>
            <a:ext cx="1063803" cy="15876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CC8715-F131-4D2E-8EA6-6056D94623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4430" y="4945333"/>
            <a:ext cx="1063803" cy="793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659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0.xml><?xml version="1.0" encoding="utf-8"?>
<a:theme xmlns:a="http://schemas.openxmlformats.org/drawingml/2006/main" name="10_Micro Focus Theme v5">
  <a:themeElements>
    <a:clrScheme name="MF Theme Colors v3">
      <a:dk1>
        <a:srgbClr val="000000"/>
      </a:dk1>
      <a:lt1>
        <a:sysClr val="window" lastClr="FFFFFF"/>
      </a:lt1>
      <a:dk2>
        <a:srgbClr val="0079EF"/>
      </a:dk2>
      <a:lt2>
        <a:srgbClr val="212E35"/>
      </a:lt2>
      <a:accent1>
        <a:srgbClr val="C6179D"/>
      </a:accent1>
      <a:accent2>
        <a:srgbClr val="7425AD"/>
      </a:accent2>
      <a:accent3>
        <a:srgbClr val="231CA5"/>
      </a:accent3>
      <a:accent4>
        <a:srgbClr val="0C90EA"/>
      </a:accent4>
      <a:accent5>
        <a:srgbClr val="29CEFE"/>
      </a:accent5>
      <a:accent6>
        <a:srgbClr val="2FD6C3"/>
      </a:accent6>
      <a:hlink>
        <a:srgbClr val="231CA5"/>
      </a:hlink>
      <a:folHlink>
        <a:srgbClr val="231CA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09_15_17_vg.potx" id="{5EE188AC-7198-4106-A282-11FECE34B1B0}" vid="{B9016EDD-6B62-4AAF-8CD0-0583E1FF0D02}"/>
    </a:ext>
  </a:extLst>
</a:theme>
</file>

<file path=ppt/theme/theme11.xml><?xml version="1.0" encoding="utf-8"?>
<a:theme xmlns:a="http://schemas.openxmlformats.org/drawingml/2006/main" name="11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2.xml><?xml version="1.0" encoding="utf-8"?>
<a:theme xmlns:a="http://schemas.openxmlformats.org/drawingml/2006/main" name="2_MF_16x9_preso_w-examples_template_080817">
  <a:themeElements>
    <a:clrScheme name="MF Primary Color Palette">
      <a:dk1>
        <a:srgbClr val="212E35"/>
      </a:dk1>
      <a:lt1>
        <a:sysClr val="window" lastClr="FFFFFF"/>
      </a:lt1>
      <a:dk2>
        <a:srgbClr val="0079EF"/>
      </a:dk2>
      <a:lt2>
        <a:srgbClr val="29CEFF"/>
      </a:lt2>
      <a:accent1>
        <a:srgbClr val="C6179D"/>
      </a:accent1>
      <a:accent2>
        <a:srgbClr val="7425AD"/>
      </a:accent2>
      <a:accent3>
        <a:srgbClr val="231CA5"/>
      </a:accent3>
      <a:accent4>
        <a:srgbClr val="1668C1"/>
      </a:accent4>
      <a:accent5>
        <a:srgbClr val="29CEFF"/>
      </a:accent5>
      <a:accent6>
        <a:srgbClr val="2FD6C3"/>
      </a:accent6>
      <a:hlink>
        <a:srgbClr val="231CA5"/>
      </a:hlink>
      <a:folHlink>
        <a:srgbClr val="5EAE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91440" tIns="45720" rIns="91440" bIns="45720" rtlCol="0" anchor="t" anchorCtr="0">
        <a:spAutoFit/>
      </a:bodyPr>
      <a:lstStyle>
        <a:defPPr algn="ctr">
          <a:defRPr sz="1467" smtClean="0">
            <a:solidFill>
              <a:schemeClr val="bg1">
                <a:lumMod val="50000"/>
              </a:schemeClr>
            </a:solidFill>
            <a:latin typeface="+mn-lt"/>
            <a:ea typeface="Roboto Light" charset="0"/>
            <a:cs typeface="Roboto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F_16x9_preso_w-examples_template_080817.potx" id="{14B2C08E-3223-4DF7-88DD-CD587E42A3DA}" vid="{DFDED45E-2C95-4CF1-B3AE-540E0BE7BAE1}"/>
    </a:ext>
  </a:extLst>
</a:theme>
</file>

<file path=ppt/theme/theme13.xml><?xml version="1.0" encoding="utf-8"?>
<a:theme xmlns:a="http://schemas.openxmlformats.org/drawingml/2006/main" name="12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4.xml><?xml version="1.0" encoding="utf-8"?>
<a:theme xmlns:a="http://schemas.openxmlformats.org/drawingml/2006/main" name="14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5.xml><?xml version="1.0" encoding="utf-8"?>
<a:theme xmlns:a="http://schemas.openxmlformats.org/drawingml/2006/main" name="15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6.xml><?xml version="1.0" encoding="utf-8"?>
<a:theme xmlns:a="http://schemas.openxmlformats.org/drawingml/2006/main" name="16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4" id="{9C3F3FE9-DA64-0047-809D-E6430BF63CC2}" vid="{DB03C3A6-7804-6247-80D3-1FA7E2429F19}"/>
    </a:ext>
  </a:extLst>
</a:theme>
</file>

<file path=ppt/theme/theme17.xml><?xml version="1.0" encoding="utf-8"?>
<a:theme xmlns:a="http://schemas.openxmlformats.org/drawingml/2006/main" name="MICROFOCUS THEME v5">
  <a:themeElements>
    <a:clrScheme name="6_Custom_MF">
      <a:dk1>
        <a:srgbClr val="000000"/>
      </a:dk1>
      <a:lt1>
        <a:srgbClr val="FFFFFF"/>
      </a:lt1>
      <a:dk2>
        <a:srgbClr val="425563"/>
      </a:dk2>
      <a:lt2>
        <a:srgbClr val="CACACA"/>
      </a:lt2>
      <a:accent1>
        <a:srgbClr val="0079EF"/>
      </a:accent1>
      <a:accent2>
        <a:srgbClr val="231CA5"/>
      </a:accent2>
      <a:accent3>
        <a:srgbClr val="560074"/>
      </a:accent3>
      <a:accent4>
        <a:srgbClr val="97CBFF"/>
      </a:accent4>
      <a:accent5>
        <a:srgbClr val="29CEFE"/>
      </a:accent5>
      <a:accent6>
        <a:srgbClr val="2FD6C3"/>
      </a:accent6>
      <a:hlink>
        <a:srgbClr val="0079EF"/>
      </a:hlink>
      <a:folHlink>
        <a:srgbClr val="231CA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09_15_17_vg.potx" id="{5EE188AC-7198-4106-A282-11FECE34B1B0}" vid="{B9016EDD-6B62-4AAF-8CD0-0583E1FF0D02}"/>
    </a:ext>
  </a:extLst>
</a:theme>
</file>

<file path=ppt/theme/theme18.xml><?xml version="1.0" encoding="utf-8"?>
<a:theme xmlns:a="http://schemas.openxmlformats.org/drawingml/2006/main" name="1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19.xml><?xml version="1.0" encoding="utf-8"?>
<a:theme xmlns:a="http://schemas.openxmlformats.org/drawingml/2006/main" name="18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2.xml><?xml version="1.0" encoding="utf-8"?>
<a:theme xmlns:a="http://schemas.openxmlformats.org/drawingml/2006/main" name="MF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MF v5" id="{974A7E91-62A6-40D2-B17B-2807049AB35F}" vid="{EADA7914-21F6-4504-8550-9DF3580B21B9}"/>
    </a:ext>
  </a:extLst>
</a:theme>
</file>

<file path=ppt/theme/theme20.xml><?xml version="1.0" encoding="utf-8"?>
<a:theme xmlns:a="http://schemas.openxmlformats.org/drawingml/2006/main" name="10_Office Theme">
  <a:themeElements>
    <a:clrScheme name="Micro Focus 2017 -3">
      <a:dk1>
        <a:srgbClr val="212E35"/>
      </a:dk1>
      <a:lt1>
        <a:sysClr val="window" lastClr="FFFFFF"/>
      </a:lt1>
      <a:dk2>
        <a:srgbClr val="0079EF"/>
      </a:dk2>
      <a:lt2>
        <a:srgbClr val="29CEFE"/>
      </a:lt2>
      <a:accent1>
        <a:srgbClr val="C6179D"/>
      </a:accent1>
      <a:accent2>
        <a:srgbClr val="7425AD"/>
      </a:accent2>
      <a:accent3>
        <a:srgbClr val="231CA5"/>
      </a:accent3>
      <a:accent4>
        <a:srgbClr val="1668C1"/>
      </a:accent4>
      <a:accent5>
        <a:srgbClr val="29CEFE"/>
      </a:accent5>
      <a:accent6>
        <a:srgbClr val="2FD6C3"/>
      </a:accent6>
      <a:hlink>
        <a:srgbClr val="231CA5"/>
      </a:hlink>
      <a:folHlink>
        <a:srgbClr val="231CA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91440" tIns="45720" rIns="91440" bIns="45720" rtlCol="0" anchor="t" anchorCtr="0">
        <a:spAutoFit/>
      </a:bodyPr>
      <a:lstStyle>
        <a:defPPr algn="ctr">
          <a:defRPr sz="1467" smtClean="0">
            <a:solidFill>
              <a:schemeClr val="bg1">
                <a:lumMod val="50000"/>
              </a:schemeClr>
            </a:solidFill>
            <a:latin typeface="+mn-lt"/>
            <a:ea typeface="Roboto Light" charset="0"/>
            <a:cs typeface="Roboto Light" charset="0"/>
          </a:defRPr>
        </a:defPPr>
      </a:lstStyle>
    </a:txDef>
  </a:objectDefaults>
  <a:extraClrSchemeLst/>
  <a:custClrLst>
    <a:custClr name="Custom Color 1">
      <a:srgbClr val="E5004C"/>
    </a:custClr>
    <a:custClr name="Custom Color 2">
      <a:srgbClr val="F48B34"/>
    </a:custClr>
    <a:custClr name="Custom Color 3">
      <a:srgbClr val="FCDB1F"/>
    </a:custClr>
    <a:custClr name="Custom Color 4">
      <a:srgbClr val="1AAC60"/>
    </a:custClr>
  </a:custClrLst>
  <a:extLst>
    <a:ext uri="{05A4C25C-085E-4340-85A3-A5531E510DB2}">
      <thm15:themeFamily xmlns:thm15="http://schemas.microsoft.com/office/thememl/2012/main" name="MicroFocus_PPT_Template_2017_16x9_v24_ks.pptx" id="{E8DCB267-E16F-4CC7-B84B-1753D206A592}" vid="{C54F1EA7-08CE-4753-B6D0-89CB46288E72}"/>
    </a:ext>
  </a:extLst>
</a:theme>
</file>

<file path=ppt/theme/theme21.xml><?xml version="1.0" encoding="utf-8"?>
<a:theme xmlns:a="http://schemas.openxmlformats.org/drawingml/2006/main" name="12_Office Theme">
  <a:themeElements>
    <a:clrScheme name="Micro Focus 2017 -2">
      <a:dk1>
        <a:srgbClr val="212E35"/>
      </a:dk1>
      <a:lt1>
        <a:sysClr val="window" lastClr="FFFFFF"/>
      </a:lt1>
      <a:dk2>
        <a:srgbClr val="0079EF"/>
      </a:dk2>
      <a:lt2>
        <a:srgbClr val="29CEFE"/>
      </a:lt2>
      <a:accent1>
        <a:srgbClr val="C6179D"/>
      </a:accent1>
      <a:accent2>
        <a:srgbClr val="7425AD"/>
      </a:accent2>
      <a:accent3>
        <a:srgbClr val="231CA5"/>
      </a:accent3>
      <a:accent4>
        <a:srgbClr val="1668C1"/>
      </a:accent4>
      <a:accent5>
        <a:srgbClr val="29CEFE"/>
      </a:accent5>
      <a:accent6>
        <a:srgbClr val="2FD6C3"/>
      </a:accent6>
      <a:hlink>
        <a:srgbClr val="231CA5"/>
      </a:hlink>
      <a:folHlink>
        <a:srgbClr val="5EAE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3">
            <a:lumMod val="60000"/>
            <a:lumOff val="40000"/>
          </a:schemeClr>
        </a:solidFill>
        <a:ln w="53975">
          <a:solidFill>
            <a:srgbClr val="0079EF"/>
          </a:solidFill>
        </a:ln>
      </a:spPr>
      <a:bodyPr rtlCol="0" anchor="ctr"/>
      <a:lstStyle>
        <a:defPPr algn="ctr">
          <a:lnSpc>
            <a:spcPct val="90000"/>
          </a:lnSpc>
          <a:defRPr sz="1100" dirty="0" err="1">
            <a:solidFill>
              <a:prstClr val="white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45720" rIns="91440" bIns="45720" rtlCol="0" anchor="t" anchorCtr="0">
        <a:spAutoFit/>
      </a:bodyPr>
      <a:lstStyle>
        <a:defPPr algn="ctr">
          <a:defRPr sz="1467" smtClean="0">
            <a:solidFill>
              <a:schemeClr val="bg1">
                <a:lumMod val="50000"/>
              </a:schemeClr>
            </a:solidFill>
            <a:latin typeface="+mn-lt"/>
            <a:ea typeface="Roboto Light" charset="0"/>
            <a:cs typeface="Roboto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Focus_PPT_Template_2017_16x9_v24_ks.pptx" id="{E8DCB267-E16F-4CC7-B84B-1753D206A592}" vid="{C54F1EA7-08CE-4753-B6D0-89CB46288E72}"/>
    </a:ext>
  </a:extLst>
</a:theme>
</file>

<file path=ppt/theme/theme22.xml><?xml version="1.0" encoding="utf-8"?>
<a:theme xmlns:a="http://schemas.openxmlformats.org/drawingml/2006/main" name="20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mf-presentation-16x9-template-10.2017.pptx" id="{0616D1C9-C19A-4787-B4DD-D8BFFF5F8E0E}" vid="{17E88329-8A01-4304-BF96-C389EA209099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F_16x9_preso_w-examples_template_080817">
  <a:themeElements>
    <a:clrScheme name="MF Primary Color Palette">
      <a:dk1>
        <a:srgbClr val="212E35"/>
      </a:dk1>
      <a:lt1>
        <a:sysClr val="window" lastClr="FFFFFF"/>
      </a:lt1>
      <a:dk2>
        <a:srgbClr val="0079EF"/>
      </a:dk2>
      <a:lt2>
        <a:srgbClr val="29CEFF"/>
      </a:lt2>
      <a:accent1>
        <a:srgbClr val="C6179D"/>
      </a:accent1>
      <a:accent2>
        <a:srgbClr val="7425AD"/>
      </a:accent2>
      <a:accent3>
        <a:srgbClr val="231CA5"/>
      </a:accent3>
      <a:accent4>
        <a:srgbClr val="1668C1"/>
      </a:accent4>
      <a:accent5>
        <a:srgbClr val="29CEFF"/>
      </a:accent5>
      <a:accent6>
        <a:srgbClr val="2FD6C3"/>
      </a:accent6>
      <a:hlink>
        <a:srgbClr val="231CA5"/>
      </a:hlink>
      <a:folHlink>
        <a:srgbClr val="5EAE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91440" tIns="45720" rIns="91440" bIns="45720" rtlCol="0" anchor="t" anchorCtr="0">
        <a:spAutoFit/>
      </a:bodyPr>
      <a:lstStyle>
        <a:defPPr algn="ctr">
          <a:defRPr sz="1467" smtClean="0">
            <a:solidFill>
              <a:schemeClr val="bg1">
                <a:lumMod val="50000"/>
              </a:schemeClr>
            </a:solidFill>
            <a:latin typeface="+mn-lt"/>
            <a:ea typeface="Roboto Light" charset="0"/>
            <a:cs typeface="Roboto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F_16x9_preso_w-examples_template_080817.potx" id="{14B2C08E-3223-4DF7-88DD-CD587E42A3DA}" vid="{DFDED45E-2C95-4CF1-B3AE-540E0BE7BAE1}"/>
    </a:ext>
  </a:extLst>
</a:theme>
</file>

<file path=ppt/theme/theme4.xml><?xml version="1.0" encoding="utf-8"?>
<a:theme xmlns:a="http://schemas.openxmlformats.org/drawingml/2006/main" name="3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>
        <a:spAutoFit/>
      </a:bodyPr>
      <a:lstStyle>
        <a:defPPr marL="0" indent="0">
          <a:lnSpc>
            <a:spcPct val="90000"/>
          </a:lnSpc>
          <a:spcAft>
            <a:spcPts val="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5.xml><?xml version="1.0" encoding="utf-8"?>
<a:theme xmlns:a="http://schemas.openxmlformats.org/drawingml/2006/main" name="5_Micro Focus Theme v5">
  <a:themeElements>
    <a:clrScheme name="MF Theme Colors v3">
      <a:dk1>
        <a:srgbClr val="000000"/>
      </a:dk1>
      <a:lt1>
        <a:sysClr val="window" lastClr="FFFFFF"/>
      </a:lt1>
      <a:dk2>
        <a:srgbClr val="0079EF"/>
      </a:dk2>
      <a:lt2>
        <a:srgbClr val="212E35"/>
      </a:lt2>
      <a:accent1>
        <a:srgbClr val="C6179D"/>
      </a:accent1>
      <a:accent2>
        <a:srgbClr val="7425AD"/>
      </a:accent2>
      <a:accent3>
        <a:srgbClr val="231CA5"/>
      </a:accent3>
      <a:accent4>
        <a:srgbClr val="0C90EA"/>
      </a:accent4>
      <a:accent5>
        <a:srgbClr val="29CEFE"/>
      </a:accent5>
      <a:accent6>
        <a:srgbClr val="2FD6C3"/>
      </a:accent6>
      <a:hlink>
        <a:srgbClr val="231CA5"/>
      </a:hlink>
      <a:folHlink>
        <a:srgbClr val="231CA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09_15_17_vg.potx" id="{5EE188AC-7198-4106-A282-11FECE34B1B0}" vid="{B9016EDD-6B62-4AAF-8CD0-0583E1FF0D02}"/>
    </a:ext>
  </a:extLst>
</a:theme>
</file>

<file path=ppt/theme/theme6.xml><?xml version="1.0" encoding="utf-8"?>
<a:theme xmlns:a="http://schemas.openxmlformats.org/drawingml/2006/main" name="6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7.xml><?xml version="1.0" encoding="utf-8"?>
<a:theme xmlns:a="http://schemas.openxmlformats.org/drawingml/2006/main" name="7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rmAutofit/>
      </a:bodyPr>
      <a:lstStyle>
        <a:defPPr marL="0" indent="0">
          <a:spcAft>
            <a:spcPts val="180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theme/theme8.xml><?xml version="1.0" encoding="utf-8"?>
<a:theme xmlns:a="http://schemas.openxmlformats.org/drawingml/2006/main" name="Micro Focus 2016 16x9 Presentation Template v4_ks[2]">
  <a:themeElements>
    <a:clrScheme name="Micro Focus 2016 Preso Palette">
      <a:dk1>
        <a:srgbClr val="212E35"/>
      </a:dk1>
      <a:lt1>
        <a:sysClr val="window" lastClr="FFFFFF"/>
      </a:lt1>
      <a:dk2>
        <a:srgbClr val="1C036F"/>
      </a:dk2>
      <a:lt2>
        <a:srgbClr val="6EF9F5"/>
      </a:lt2>
      <a:accent1>
        <a:srgbClr val="0078EF"/>
      </a:accent1>
      <a:accent2>
        <a:srgbClr val="28C3FF"/>
      </a:accent2>
      <a:accent3>
        <a:srgbClr val="3DDCCA"/>
      </a:accent3>
      <a:accent4>
        <a:srgbClr val="1FFBBA"/>
      </a:accent4>
      <a:accent5>
        <a:srgbClr val="56176C"/>
      </a:accent5>
      <a:accent6>
        <a:srgbClr val="DF287C"/>
      </a:accent6>
      <a:hlink>
        <a:srgbClr val="0080FF"/>
      </a:hlink>
      <a:folHlink>
        <a:srgbClr val="5EAE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F36ECD18-4061-4155-A74C-0A1203218E1D}" vid="{B8ACFB78-61A0-41CD-BD8E-65AAB34F87C0}"/>
    </a:ext>
  </a:extLst>
</a:theme>
</file>

<file path=ppt/theme/theme9.xml><?xml version="1.0" encoding="utf-8"?>
<a:theme xmlns:a="http://schemas.openxmlformats.org/drawingml/2006/main" name="9_Micro Focus Theme v5">
  <a:themeElements>
    <a:clrScheme name="mf theme colors v4">
      <a:dk1>
        <a:srgbClr val="000000"/>
      </a:dk1>
      <a:lt1>
        <a:srgbClr val="FFFFFF"/>
      </a:lt1>
      <a:dk2>
        <a:srgbClr val="ECEEEF"/>
      </a:dk2>
      <a:lt2>
        <a:srgbClr val="212E35"/>
      </a:lt2>
      <a:accent1>
        <a:srgbClr val="0079EF"/>
      </a:accent1>
      <a:accent2>
        <a:srgbClr val="231CA5"/>
      </a:accent2>
      <a:accent3>
        <a:srgbClr val="7424AD"/>
      </a:accent3>
      <a:accent4>
        <a:srgbClr val="C6179D"/>
      </a:accent4>
      <a:accent5>
        <a:srgbClr val="29CEFE"/>
      </a:accent5>
      <a:accent6>
        <a:srgbClr val="2FD6C3"/>
      </a:accent6>
      <a:hlink>
        <a:srgbClr val="284CFF"/>
      </a:hlink>
      <a:folHlink>
        <a:srgbClr val="284C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>
        <a:spAutoFit/>
      </a:bodyPr>
      <a:lstStyle>
        <a:defPPr marL="0" indent="0">
          <a:lnSpc>
            <a:spcPct val="90000"/>
          </a:lnSpc>
          <a:spcAft>
            <a:spcPts val="0"/>
          </a:spcAft>
          <a:buNone/>
          <a:defRPr sz="2400" dirty="0"/>
        </a:defPPr>
      </a:lstStyle>
    </a:txDef>
  </a:objectDefaults>
  <a:extraClrSchemeLst/>
  <a:custClrLst>
    <a:custClr name="MF Status Crimson">
      <a:srgbClr val="E5004C"/>
    </a:custClr>
    <a:custClr name="MF Status Apricot">
      <a:srgbClr val="F48B34"/>
    </a:custClr>
    <a:custClr name="MF Status Yellow">
      <a:srgbClr val="FCDB1F"/>
    </a:custClr>
    <a:custClr name="MF Status Green">
      <a:srgbClr val="1AAC60"/>
    </a:custClr>
  </a:custClrLst>
  <a:extLst>
    <a:ext uri="{05A4C25C-085E-4340-85A3-A5531E510DB2}">
      <thm15:themeFamily xmlns:thm15="http://schemas.microsoft.com/office/thememl/2012/main" name="Presentation_2017" id="{EE410749-BDB7-BA44-9034-418D44443F47}" vid="{9639C47D-4534-FE4D-9883-F5A494F791BC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03BCB38-008C-E349-A4FC-E674450CD1CA}">
  <we:reference id="wa104381063" version="1.0.0.0" store="en-U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1FBA2AEE58AA49AEC3937F80280D4D" ma:contentTypeVersion="13" ma:contentTypeDescription="Create a new document." ma:contentTypeScope="" ma:versionID="a5d368ff54395f4c33bbd1724412ed15">
  <xsd:schema xmlns:xsd="http://www.w3.org/2001/XMLSchema" xmlns:xs="http://www.w3.org/2001/XMLSchema" xmlns:p="http://schemas.microsoft.com/office/2006/metadata/properties" xmlns:ns3="26b8796e-0f80-4c3a-9935-6c0ef8b81e0f" xmlns:ns4="48df9097-77c2-46dd-913a-418d29fc8e5c" targetNamespace="http://schemas.microsoft.com/office/2006/metadata/properties" ma:root="true" ma:fieldsID="8d7f5258f0eac1c1092aff77ef11dcb1" ns3:_="" ns4:_="">
    <xsd:import namespace="26b8796e-0f80-4c3a-9935-6c0ef8b81e0f"/>
    <xsd:import namespace="48df9097-77c2-46dd-913a-418d29fc8e5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8796e-0f80-4c3a-9935-6c0ef8b81e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df9097-77c2-46dd-913a-418d29fc8e5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A7F220-A98C-43A7-8178-6593C07CA20A}">
  <ds:schemaRefs>
    <ds:schemaRef ds:uri="http://schemas.microsoft.com/office/infopath/2007/PartnerControls"/>
    <ds:schemaRef ds:uri="48df9097-77c2-46dd-913a-418d29fc8e5c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26b8796e-0f80-4c3a-9935-6c0ef8b81e0f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C4A5EB5-DEDE-4609-81E2-A6643455BB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2160EA-3F89-4AEA-A461-199F04A3B0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b8796e-0f80-4c3a-9935-6c0ef8b81e0f"/>
    <ds:schemaRef ds:uri="48df9097-77c2-46dd-913a-418d29fc8e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Focus_PPT_Template_2017_16x9_v24_ks</Template>
  <TotalTime>589934</TotalTime>
  <Words>1017</Words>
  <Application>Microsoft Office PowerPoint</Application>
  <PresentationFormat>Widescreen</PresentationFormat>
  <Paragraphs>151</Paragraphs>
  <Slides>24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53" baseType="lpstr">
      <vt:lpstr>Arial</vt:lpstr>
      <vt:lpstr>Calibri</vt:lpstr>
      <vt:lpstr>Calibri Light</vt:lpstr>
      <vt:lpstr>Lucida Grande</vt:lpstr>
      <vt:lpstr>MetricHPE</vt:lpstr>
      <vt:lpstr>Wingdings</vt:lpstr>
      <vt:lpstr>Micro Focus Theme v5</vt:lpstr>
      <vt:lpstr>MF v5</vt:lpstr>
      <vt:lpstr>MF_16x9_preso_w-examples_template_080817</vt:lpstr>
      <vt:lpstr>3_Micro Focus Theme v5</vt:lpstr>
      <vt:lpstr>5_Micro Focus Theme v5</vt:lpstr>
      <vt:lpstr>6_Micro Focus Theme v5</vt:lpstr>
      <vt:lpstr>7_Micro Focus Theme v5</vt:lpstr>
      <vt:lpstr>Micro Focus 2016 16x9 Presentation Template v4_ks[2]</vt:lpstr>
      <vt:lpstr>9_Micro Focus Theme v5</vt:lpstr>
      <vt:lpstr>10_Micro Focus Theme v5</vt:lpstr>
      <vt:lpstr>11_Micro Focus Theme v5</vt:lpstr>
      <vt:lpstr>2_MF_16x9_preso_w-examples_template_080817</vt:lpstr>
      <vt:lpstr>12_Micro Focus Theme v5</vt:lpstr>
      <vt:lpstr>14_Micro Focus Theme v5</vt:lpstr>
      <vt:lpstr>15_Micro Focus Theme v5</vt:lpstr>
      <vt:lpstr>16_Micro Focus Theme v5</vt:lpstr>
      <vt:lpstr>MICROFOCUS THEME v5</vt:lpstr>
      <vt:lpstr>1_Micro Focus Theme v5</vt:lpstr>
      <vt:lpstr>18_Micro Focus Theme v5</vt:lpstr>
      <vt:lpstr>10_Office Theme</vt:lpstr>
      <vt:lpstr>12_Office Theme</vt:lpstr>
      <vt:lpstr>20_Micro Focus Theme v5</vt:lpstr>
      <vt:lpstr>think-cell Slide</vt:lpstr>
      <vt:lpstr>Welcome to ALM/Quality Center Web Runner We will start shortly… </vt:lpstr>
      <vt:lpstr>ALM/Quality Center Web Runner</vt:lpstr>
      <vt:lpstr>  </vt:lpstr>
      <vt:lpstr>Web Runner Intro</vt:lpstr>
      <vt:lpstr>Test Plan Module - Test Authoring (NEW in ALM/Quality Center 16) </vt:lpstr>
      <vt:lpstr>Test Lab Module - Test Sets Execution Setup</vt:lpstr>
      <vt:lpstr>PowerPoint Presentation</vt:lpstr>
      <vt:lpstr>PowerPoint Presentation</vt:lpstr>
      <vt:lpstr>Test Lab Module – Defect Submission Upon Failed Step</vt:lpstr>
      <vt:lpstr>Test Lab Module  – Automation Agent Setup</vt:lpstr>
      <vt:lpstr>Test Lab Module – Automation Tests Execution</vt:lpstr>
      <vt:lpstr>PowerPoint Presentation</vt:lpstr>
      <vt:lpstr>Defects Module – Applying Custom Filter (NEW in ALM/Quality Center 16)</vt:lpstr>
      <vt:lpstr>Defects Module – Applying Favorite</vt:lpstr>
      <vt:lpstr>Dashboard Module</vt:lpstr>
      <vt:lpstr>Defect Settings – Defect Forms</vt:lpstr>
      <vt:lpstr>Defect Settings – Transition Rules</vt:lpstr>
      <vt:lpstr>Run Settings</vt:lpstr>
      <vt:lpstr>PowerPoint Presentation</vt:lpstr>
      <vt:lpstr>Web Runner – Admin Page</vt:lpstr>
      <vt:lpstr>Web Runner – License consumption</vt:lpstr>
      <vt:lpstr>Inform Slides (Details On Slide 2)</vt:lpstr>
      <vt:lpstr>Questions &amp; Answe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 Focus Presentation Template</dc:title>
  <dc:creator/>
  <cp:lastModifiedBy>THANH PHAN</cp:lastModifiedBy>
  <cp:revision>392</cp:revision>
  <dcterms:created xsi:type="dcterms:W3CDTF">2017-07-05T16:21:10Z</dcterms:created>
  <dcterms:modified xsi:type="dcterms:W3CDTF">2021-08-24T21:0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1FBA2AEE58AA49AEC3937F80280D4D</vt:lpwstr>
  </property>
</Properties>
</file>